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8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9.xml" ContentType="application/vnd.openxmlformats-officedocument.theme+xml"/>
  <Override PartName="/ppt/tags/tag89.xml" ContentType="application/vnd.openxmlformats-officedocument.presentationml.tags+xml"/>
  <Override PartName="/ppt/notesSlides/notesSlide1.xml" ContentType="application/vnd.openxmlformats-officedocument.presentationml.notesSlide+xml"/>
  <Override PartName="/ppt/tags/tag90.xml" ContentType="application/vnd.openxmlformats-officedocument.presentationml.tags+xml"/>
  <Override PartName="/ppt/notesSlides/notesSlide2.xml" ContentType="application/vnd.openxmlformats-officedocument.presentationml.notesSlide+xml"/>
  <Override PartName="/ppt/tags/tag91.xml" ContentType="application/vnd.openxmlformats-officedocument.presentationml.tags+xml"/>
  <Override PartName="/ppt/notesSlides/notesSlide3.xml" ContentType="application/vnd.openxmlformats-officedocument.presentationml.notesSlide+xml"/>
  <Override PartName="/ppt/tags/tag92.xml" ContentType="application/vnd.openxmlformats-officedocument.presentationml.tags+xml"/>
  <Override PartName="/ppt/notesSlides/notesSlide4.xml" ContentType="application/vnd.openxmlformats-officedocument.presentationml.notesSlide+xml"/>
  <Override PartName="/ppt/tags/tag93.xml" ContentType="application/vnd.openxmlformats-officedocument.presentationml.tags+xml"/>
  <Override PartName="/ppt/notesSlides/notesSlide5.xml" ContentType="application/vnd.openxmlformats-officedocument.presentationml.notesSlide+xml"/>
  <Override PartName="/ppt/tags/tag94.xml" ContentType="application/vnd.openxmlformats-officedocument.presentationml.tags+xml"/>
  <Override PartName="/ppt/notesSlides/notesSlide6.xml" ContentType="application/vnd.openxmlformats-officedocument.presentationml.notesSlide+xml"/>
  <Override PartName="/ppt/tags/tag95.xml" ContentType="application/vnd.openxmlformats-officedocument.presentationml.tags+xml"/>
  <Override PartName="/ppt/notesSlides/notesSlide7.xml" ContentType="application/vnd.openxmlformats-officedocument.presentationml.notesSlide+xml"/>
  <Override PartName="/ppt/tags/tag96.xml" ContentType="application/vnd.openxmlformats-officedocument.presentationml.tags+xml"/>
  <Override PartName="/ppt/notesSlides/notesSlide8.xml" ContentType="application/vnd.openxmlformats-officedocument.presentationml.notesSlide+xml"/>
  <Override PartName="/ppt/tags/tag97.xml" ContentType="application/vnd.openxmlformats-officedocument.presentationml.tags+xml"/>
  <Override PartName="/ppt/notesSlides/notesSlide9.xml" ContentType="application/vnd.openxmlformats-officedocument.presentationml.notesSlide+xml"/>
  <Override PartName="/ppt/tags/tag98.xml" ContentType="application/vnd.openxmlformats-officedocument.presentationml.tags+xml"/>
  <Override PartName="/ppt/notesSlides/notesSlide10.xml" ContentType="application/vnd.openxmlformats-officedocument.presentationml.notesSlide+xml"/>
  <Override PartName="/ppt/tags/tag99.xml" ContentType="application/vnd.openxmlformats-officedocument.presentationml.tags+xml"/>
  <Override PartName="/ppt/notesSlides/notesSlide11.xml" ContentType="application/vnd.openxmlformats-officedocument.presentationml.notesSlide+xml"/>
  <Override PartName="/ppt/tags/tag100.xml" ContentType="application/vnd.openxmlformats-officedocument.presentationml.tags+xml"/>
  <Override PartName="/ppt/notesSlides/notesSlide12.xml" ContentType="application/vnd.openxmlformats-officedocument.presentationml.notesSlide+xml"/>
  <Override PartName="/ppt/tags/tag101.xml" ContentType="application/vnd.openxmlformats-officedocument.presentationml.tags+xml"/>
  <Override PartName="/ppt/notesSlides/notesSlide13.xml" ContentType="application/vnd.openxmlformats-officedocument.presentationml.notesSlide+xml"/>
  <Override PartName="/ppt/tags/tag102.xml" ContentType="application/vnd.openxmlformats-officedocument.presentationml.tags+xml"/>
  <Override PartName="/ppt/notesSlides/notesSlide14.xml" ContentType="application/vnd.openxmlformats-officedocument.presentationml.notesSlide+xml"/>
  <Override PartName="/ppt/tags/tag103.xml" ContentType="application/vnd.openxmlformats-officedocument.presentationml.tags+xml"/>
  <Override PartName="/ppt/notesSlides/notesSlide15.xml" ContentType="application/vnd.openxmlformats-officedocument.presentationml.notesSlide+xml"/>
  <Override PartName="/ppt/tags/tag104.xml" ContentType="application/vnd.openxmlformats-officedocument.presentationml.tags+xml"/>
  <Override PartName="/ppt/notesSlides/notesSlide16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37" r:id="rId5"/>
    <p:sldMasterId id="2147483756" r:id="rId6"/>
    <p:sldMasterId id="2147483775" r:id="rId7"/>
    <p:sldMasterId id="2147483794" r:id="rId8"/>
    <p:sldMasterId id="2147483813" r:id="rId9"/>
    <p:sldMasterId id="2147483831" r:id="rId10"/>
    <p:sldMasterId id="2147483843" r:id="rId11"/>
  </p:sldMasterIdLst>
  <p:notesMasterIdLst>
    <p:notesMasterId r:id="rId32"/>
  </p:notesMasterIdLst>
  <p:sldIdLst>
    <p:sldId id="526" r:id="rId12"/>
    <p:sldId id="496" r:id="rId13"/>
    <p:sldId id="520" r:id="rId14"/>
    <p:sldId id="499" r:id="rId15"/>
    <p:sldId id="500" r:id="rId16"/>
    <p:sldId id="501" r:id="rId17"/>
    <p:sldId id="502" r:id="rId18"/>
    <p:sldId id="503" r:id="rId19"/>
    <p:sldId id="504" r:id="rId20"/>
    <p:sldId id="505" r:id="rId21"/>
    <p:sldId id="506" r:id="rId22"/>
    <p:sldId id="521" r:id="rId23"/>
    <p:sldId id="522" r:id="rId24"/>
    <p:sldId id="489" r:id="rId25"/>
    <p:sldId id="508" r:id="rId26"/>
    <p:sldId id="509" r:id="rId27"/>
    <p:sldId id="492" r:id="rId28"/>
    <p:sldId id="528" r:id="rId29"/>
    <p:sldId id="529" r:id="rId30"/>
    <p:sldId id="530" r:id="rId31"/>
  </p:sldIdLst>
  <p:sldSz cx="12192000" cy="6858000"/>
  <p:notesSz cx="6858000" cy="9144000"/>
  <p:custDataLst>
    <p:tags r:id="rId33"/>
  </p:custDataLst>
  <p:defaultTextStyle>
    <a:defPPr>
      <a:defRPr lang="es-CL"/>
    </a:defPPr>
    <a:lvl1pPr marL="0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1pPr>
    <a:lvl2pPr marL="544244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2pPr>
    <a:lvl3pPr marL="1088488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3pPr>
    <a:lvl4pPr marL="1632732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4pPr>
    <a:lvl5pPr marL="2176976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5pPr>
    <a:lvl6pPr marL="2721220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6pPr>
    <a:lvl7pPr marL="3265464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7pPr>
    <a:lvl8pPr marL="3809708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8pPr>
    <a:lvl9pPr marL="4353952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29p7zgQpwS5R5AJHntabcA==" hashData="yh2tRntY/+R9WF2ZdAOwRPC54XyZmDBqXFDJ2jvCV92zVxIknt+WSniPHvxG/0ENVxCvAu+oggR/TRPP0+c2rA=="/>
  <p:extLst>
    <p:ext uri="{EFAFB233-063F-42B5-8137-9DF3F51BA10A}">
      <p15:sldGuideLst xmlns:p15="http://schemas.microsoft.com/office/powerpoint/2012/main">
        <p15:guide id="1" orient="horz" pos="190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799" userDrawn="1">
          <p15:clr>
            <a:srgbClr val="A4A3A4"/>
          </p15:clr>
        </p15:guide>
        <p15:guide id="4" orient="horz" pos="527" userDrawn="1">
          <p15:clr>
            <a:srgbClr val="A4A3A4"/>
          </p15:clr>
        </p15:guide>
        <p15:guide id="5" pos="257" userDrawn="1">
          <p15:clr>
            <a:srgbClr val="A4A3A4"/>
          </p15:clr>
        </p15:guide>
        <p15:guide id="6" pos="7469" userDrawn="1">
          <p15:clr>
            <a:srgbClr val="A4A3A4"/>
          </p15:clr>
        </p15:guide>
        <p15:guide id="7" pos="1799" userDrawn="1">
          <p15:clr>
            <a:srgbClr val="A4A3A4"/>
          </p15:clr>
        </p15:guide>
        <p15:guide id="8" pos="1935" userDrawn="1">
          <p15:clr>
            <a:srgbClr val="A4A3A4"/>
          </p15:clr>
        </p15:guide>
        <p15:guide id="9" pos="3885" userDrawn="1">
          <p15:clr>
            <a:srgbClr val="A4A3A4"/>
          </p15:clr>
        </p15:guide>
        <p15:guide id="10" orient="horz" pos="255" userDrawn="1">
          <p15:clr>
            <a:srgbClr val="A4A3A4"/>
          </p15:clr>
        </p15:guide>
        <p15:guide id="11" orient="horz" pos="1570" userDrawn="1">
          <p15:clr>
            <a:srgbClr val="A4A3A4"/>
          </p15:clr>
        </p15:guide>
        <p15:guide id="12" pos="6468" userDrawn="1">
          <p15:clr>
            <a:srgbClr val="A4A3A4"/>
          </p15:clr>
        </p15:guide>
        <p15:guide id="13" orient="horz" pos="1117" userDrawn="1">
          <p15:clr>
            <a:srgbClr val="A4A3A4"/>
          </p15:clr>
        </p15:guide>
        <p15:guide id="14" orient="horz" pos="2296" userDrawn="1">
          <p15:clr>
            <a:srgbClr val="A4A3A4"/>
          </p15:clr>
        </p15:guide>
        <p15:guide id="15" orient="horz" pos="2478" userDrawn="1">
          <p15:clr>
            <a:srgbClr val="A4A3A4"/>
          </p15:clr>
        </p15:guide>
        <p15:guide id="16" pos="3522" userDrawn="1">
          <p15:clr>
            <a:srgbClr val="A4A3A4"/>
          </p15:clr>
        </p15:guide>
        <p15:guide id="17" pos="320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15"/>
    <a:srgbClr val="0FC044"/>
    <a:srgbClr val="EAEADE"/>
    <a:srgbClr val="15C045"/>
    <a:srgbClr val="7DFF45"/>
    <a:srgbClr val="004C14"/>
    <a:srgbClr val="15C047"/>
    <a:srgbClr val="004F59"/>
    <a:srgbClr val="007A33"/>
    <a:srgbClr val="004A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70"/>
    <p:restoredTop sz="95041" autoAdjust="0"/>
  </p:normalViewPr>
  <p:slideViewPr>
    <p:cSldViewPr>
      <p:cViewPr varScale="1">
        <p:scale>
          <a:sx n="103" d="100"/>
          <a:sy n="103" d="100"/>
        </p:scale>
        <p:origin x="802" y="72"/>
      </p:cViewPr>
      <p:guideLst>
        <p:guide orient="horz" pos="190"/>
        <p:guide orient="horz" pos="4110"/>
        <p:guide orient="horz" pos="799"/>
        <p:guide orient="horz" pos="527"/>
        <p:guide pos="257"/>
        <p:guide pos="7469"/>
        <p:guide pos="1799"/>
        <p:guide pos="1935"/>
        <p:guide pos="3885"/>
        <p:guide orient="horz" pos="255"/>
        <p:guide orient="horz" pos="1570"/>
        <p:guide pos="6468"/>
        <p:guide orient="horz" pos="1117"/>
        <p:guide orient="horz" pos="2296"/>
        <p:guide orient="horz" pos="2478"/>
        <p:guide pos="3522"/>
        <p:guide pos="32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CHS Nueva Sans" pitchFamily="2" charset="0"/>
              </a:defRPr>
            </a:lvl1pPr>
          </a:lstStyle>
          <a:p>
            <a:endParaRPr lang="es-CL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CHS Nueva Sans" pitchFamily="2" charset="0"/>
              </a:defRPr>
            </a:lvl1pPr>
          </a:lstStyle>
          <a:p>
            <a:fld id="{4819BDEC-D5F1-48D1-BE8A-46E3339F7C0E}" type="datetimeFigureOut">
              <a:rPr lang="es-CL" smtClean="0"/>
              <a:pPr/>
              <a:t>24-10-2023</a:t>
            </a:fld>
            <a:endParaRPr lang="es-CL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CHS Nueva Sans" pitchFamily="2" charset="0"/>
              </a:defRPr>
            </a:lvl1pPr>
          </a:lstStyle>
          <a:p>
            <a:endParaRPr lang="es-C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CHS Nueva Sans" pitchFamily="2" charset="0"/>
              </a:defRPr>
            </a:lvl1pPr>
          </a:lstStyle>
          <a:p>
            <a:fld id="{E3BD9BE5-650B-45F0-8090-C917A304833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64196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488" rtl="0" eaLnBrk="1" latinLnBrk="0" hangingPunct="1">
      <a:defRPr sz="1436" kern="1200">
        <a:solidFill>
          <a:schemeClr val="tx1"/>
        </a:solidFill>
        <a:latin typeface="ACHS Nueva Sans" pitchFamily="2" charset="0"/>
        <a:ea typeface="+mn-ea"/>
        <a:cs typeface="+mn-cs"/>
      </a:defRPr>
    </a:lvl1pPr>
    <a:lvl2pPr marL="544244" algn="l" defTabSz="1088488" rtl="0" eaLnBrk="1" latinLnBrk="0" hangingPunct="1">
      <a:defRPr sz="1436" kern="1200">
        <a:solidFill>
          <a:schemeClr val="tx1"/>
        </a:solidFill>
        <a:latin typeface="ACHS Nueva Sans" pitchFamily="2" charset="0"/>
        <a:ea typeface="+mn-ea"/>
        <a:cs typeface="+mn-cs"/>
      </a:defRPr>
    </a:lvl2pPr>
    <a:lvl3pPr marL="1088488" algn="l" defTabSz="1088488" rtl="0" eaLnBrk="1" latinLnBrk="0" hangingPunct="1">
      <a:defRPr sz="1436" kern="1200">
        <a:solidFill>
          <a:schemeClr val="tx1"/>
        </a:solidFill>
        <a:latin typeface="ACHS Nueva Sans" pitchFamily="2" charset="0"/>
        <a:ea typeface="+mn-ea"/>
        <a:cs typeface="+mn-cs"/>
      </a:defRPr>
    </a:lvl3pPr>
    <a:lvl4pPr marL="1632732" algn="l" defTabSz="1088488" rtl="0" eaLnBrk="1" latinLnBrk="0" hangingPunct="1">
      <a:defRPr sz="1436" kern="1200">
        <a:solidFill>
          <a:schemeClr val="tx1"/>
        </a:solidFill>
        <a:latin typeface="ACHS Nueva Sans" pitchFamily="2" charset="0"/>
        <a:ea typeface="+mn-ea"/>
        <a:cs typeface="+mn-cs"/>
      </a:defRPr>
    </a:lvl4pPr>
    <a:lvl5pPr marL="2176976" algn="l" defTabSz="1088488" rtl="0" eaLnBrk="1" latinLnBrk="0" hangingPunct="1">
      <a:defRPr sz="1436" kern="1200">
        <a:solidFill>
          <a:schemeClr val="tx1"/>
        </a:solidFill>
        <a:latin typeface="ACHS Nueva Sans" pitchFamily="2" charset="0"/>
        <a:ea typeface="+mn-ea"/>
        <a:cs typeface="+mn-cs"/>
      </a:defRPr>
    </a:lvl5pPr>
    <a:lvl6pPr marL="2721220" algn="l" defTabSz="1088488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6pPr>
    <a:lvl7pPr marL="3265464" algn="l" defTabSz="1088488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7pPr>
    <a:lvl8pPr marL="3809708" algn="l" defTabSz="1088488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8pPr>
    <a:lvl9pPr marL="4353952" algn="l" defTabSz="1088488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pPr/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860883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8348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9472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1541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0328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pPr/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114700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0122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4764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pPr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20500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pPr/>
              <a:t>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176770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693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7941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8102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5639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2730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457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.xml"/><Relationship Id="rId7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0.xml"/><Relationship Id="rId7" Type="http://schemas.openxmlformats.org/officeDocument/2006/relationships/image" Target="../media/image1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.xml"/><Relationship Id="rId4" Type="http://schemas.openxmlformats.org/officeDocument/2006/relationships/image" Target="../media/image14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8.emf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8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8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8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3.xml"/><Relationship Id="rId7" Type="http://schemas.openxmlformats.org/officeDocument/2006/relationships/image" Target="../media/image13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8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8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8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8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image" Target="../media/image20.sv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8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8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8.emf"/><Relationship Id="rId2" Type="http://schemas.openxmlformats.org/officeDocument/2006/relationships/tags" Target="../tags/tag4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8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8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7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8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6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6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6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8.emf"/><Relationship Id="rId2" Type="http://schemas.openxmlformats.org/officeDocument/2006/relationships/tags" Target="../tags/tag6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6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68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0.xml"/><Relationship Id="rId7" Type="http://schemas.openxmlformats.org/officeDocument/2006/relationships/oleObject" Target="../embeddings/oleObject24.bin"/><Relationship Id="rId2" Type="http://schemas.openxmlformats.org/officeDocument/2006/relationships/tags" Target="../tags/tag6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7.emf"/><Relationship Id="rId5" Type="http://schemas.openxmlformats.org/officeDocument/2006/relationships/image" Target="../media/image26.emf"/><Relationship Id="rId4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image" Target="../media/image29.emf"/><Relationship Id="rId4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5.xml"/><Relationship Id="rId4" Type="http://schemas.openxmlformats.org/officeDocument/2006/relationships/image" Target="../media/image8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32.emf"/><Relationship Id="rId2" Type="http://schemas.openxmlformats.org/officeDocument/2006/relationships/tags" Target="../tags/tag87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33.png"/><Relationship Id="rId4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emf"/><Relationship Id="rId4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1983617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118249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265D52F1-0FA1-FAB3-B385-08FEE5868F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6" r="15604"/>
          <a:stretch/>
        </p:blipFill>
        <p:spPr>
          <a:xfrm>
            <a:off x="0" y="0"/>
            <a:ext cx="635000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5F600FA4-D0A2-8949-8FD6-E129C30DA8E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26297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C970606F-8436-C446-883F-1F20759B734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574479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F99E6D8A-C320-7B8A-750B-8E53CB8AFB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549642" y="0"/>
            <a:ext cx="7691382" cy="6857999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0130BCDC-C265-2243-A7EC-930203A0172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2637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924D1FB4-1178-2F4A-A5DD-5B08C9C2706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39850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</a:t>
            </a:r>
          </a:p>
          <a:p>
            <a:pPr lvl="0"/>
            <a:r>
              <a:rPr lang="es-ES" dirty="0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C799E6A4-4C39-4044-9E70-2C36E116856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32563411"/>
      </p:ext>
    </p:extLst>
  </p:cSld>
  <p:clrMapOvr>
    <a:masterClrMapping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="" xmlns:a16="http://schemas.microsoft.com/office/drawing/2014/main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1219169" hangingPunct="0">
              <a:lnSpc>
                <a:spcPct val="9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Texto</a:t>
            </a:r>
            <a:r>
              <a:rPr lang="en-US" sz="1200" kern="0" dirty="0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de </a:t>
            </a:r>
            <a:r>
              <a:rPr lang="en-US" sz="12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apoyo</a:t>
            </a:r>
            <a:r>
              <a:rPr lang="en-US" sz="1200" kern="0" dirty="0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o </a:t>
            </a:r>
            <a:r>
              <a:rPr lang="en-US" sz="12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subtítulo</a:t>
            </a:r>
            <a:endParaRPr sz="1200" kern="0" dirty="0">
              <a:solidFill>
                <a:srgbClr val="014B14"/>
              </a:solidFill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6371A669-6E98-684F-AA09-CAF189C7B79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942243127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orient="horz" pos="777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=""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="" xmlns:a16="http://schemas.microsoft.com/office/drawing/2014/main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1219169" hangingPunct="0">
              <a:lnSpc>
                <a:spcPct val="9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Texto</a:t>
            </a:r>
            <a:r>
              <a:rPr lang="en-US" sz="1200" kern="0" dirty="0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de </a:t>
            </a:r>
            <a:r>
              <a:rPr lang="en-US" sz="12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apoyo</a:t>
            </a:r>
            <a:r>
              <a:rPr lang="en-US" sz="1200" kern="0" dirty="0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o </a:t>
            </a:r>
            <a:r>
              <a:rPr lang="en-US" sz="12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subtítulo</a:t>
            </a:r>
            <a:endParaRPr sz="1200" kern="0" dirty="0">
              <a:solidFill>
                <a:srgbClr val="014B14"/>
              </a:solidFill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F406DD75-EFED-8148-B3B9-76FA0FDA661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62357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Máximo 3 líneas Arial - 36 puntos</a:t>
            </a:r>
            <a:endParaRPr lang="es-CL" dirty="0"/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pic>
        <p:nvPicPr>
          <p:cNvPr id="6" name="Picture 9">
            <a:extLst>
              <a:ext uri="{FF2B5EF4-FFF2-40B4-BE49-F238E27FC236}">
                <a16:creationId xmlns="" xmlns:a16="http://schemas.microsoft.com/office/drawing/2014/main" id="{1E32865B-70DB-344E-9066-483DD14F91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8906589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Máximo 3 líneas Arial - 36 puntos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CE3E6E6E-A03E-9049-B7ED-474D11A1727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1923827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=""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=""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5734246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568020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=""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D15BCFF8-69B7-E644-B5A1-9402DA47BA7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475450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Arial</a:t>
            </a:r>
            <a:endParaRPr lang="es-CL" dirty="0"/>
          </a:p>
        </p:txBody>
      </p:sp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6201F724-207C-5742-B341-05366E40EF3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392335"/>
            <a:ext cx="1380931" cy="64552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60133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40 puntos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9">
            <a:extLst>
              <a:ext uri="{FF2B5EF4-FFF2-40B4-BE49-F238E27FC236}">
                <a16:creationId xmlns="" xmlns:a16="http://schemas.microsoft.com/office/drawing/2014/main" id="{1D273B15-8ED6-474F-97CC-C2D75BC6FCF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705395484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07">
          <p15:clr>
            <a:srgbClr val="FBAE40"/>
          </p15:clr>
        </p15:guide>
        <p15:guide id="6" orient="horz" pos="2160">
          <p15:clr>
            <a:srgbClr val="FBAE40"/>
          </p15:clr>
        </p15:guide>
        <p15:guide id="7" orient="horz" pos="1139">
          <p15:clr>
            <a:srgbClr val="FBAE40"/>
          </p15:clr>
        </p15:guide>
        <p15:guide id="8" orient="horz" pos="1915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="" xmlns:a16="http://schemas.microsoft.com/office/drawing/2014/main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Nº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 Arial Bold 40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="" xmlns:a16="http://schemas.microsoft.com/office/drawing/2014/main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Nº</a:t>
            </a:r>
            <a:r>
              <a:rPr lang="es-ES" dirty="0"/>
              <a:t> - Título del capítulo</a:t>
            </a:r>
            <a:endParaRPr lang="es-CL" dirty="0"/>
          </a:p>
        </p:txBody>
      </p:sp>
      <p:sp>
        <p:nvSpPr>
          <p:cNvPr id="38" name="Freeform 37">
            <a:extLst>
              <a:ext uri="{FF2B5EF4-FFF2-40B4-BE49-F238E27FC236}">
                <a16:creationId xmlns="" xmlns:a16="http://schemas.microsoft.com/office/drawing/2014/main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39568CE8-F416-6B48-938E-EBD604E68B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10676359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320">
          <p15:clr>
            <a:srgbClr val="FBAE40"/>
          </p15:clr>
        </p15:guide>
        <p15:guide id="3" orient="horz" pos="1207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2436">
          <p15:clr>
            <a:srgbClr val="FBAE40"/>
          </p15:clr>
        </p15:guide>
        <p15:guide id="6" orient="horz" pos="3042">
          <p15:clr>
            <a:srgbClr val="FBAE40"/>
          </p15:clr>
        </p15:guide>
        <p15:guide id="7" orient="horz" pos="3644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Nº</a:t>
            </a:r>
            <a:endParaRPr lang="es-CL" dirty="0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Nº</a:t>
            </a:r>
            <a:r>
              <a:rPr lang="es-ES" dirty="0"/>
              <a:t> - Título del capítulo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</a:t>
            </a:r>
            <a:br>
              <a:rPr lang="es-ES" dirty="0"/>
            </a:br>
            <a:r>
              <a:rPr lang="es-ES" dirty="0"/>
              <a:t>Arial - 40 puntos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- 40 puntos</a:t>
            </a:r>
            <a:endParaRPr lang="es-CL" dirty="0"/>
          </a:p>
        </p:txBody>
      </p: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F3F4752F-E3DE-0A43-B945-CD93B39799E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347427676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Arial</a:t>
            </a:r>
            <a:br>
              <a:rPr lang="es-ES" dirty="0">
                <a:solidFill>
                  <a:schemeClr val="bg2"/>
                </a:solidFill>
              </a:rPr>
            </a:br>
            <a:r>
              <a:rPr lang="es-ES" dirty="0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0</a:t>
            </a:r>
            <a:endParaRPr lang="es-CL" dirty="0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="" xmlns:a16="http://schemas.microsoft.com/office/drawing/2014/main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3" name="Conector recto 18">
            <a:extLst>
              <a:ext uri="{FF2B5EF4-FFF2-40B4-BE49-F238E27FC236}">
                <a16:creationId xmlns="" xmlns:a16="http://schemas.microsoft.com/office/drawing/2014/main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="" xmlns:a16="http://schemas.microsoft.com/office/drawing/2014/main" id="{D99BDDEB-4512-0143-8C1F-AF125C870B8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900962654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5" name="Marcador de texto 7">
            <a:extLst>
              <a:ext uri="{FF2B5EF4-FFF2-40B4-BE49-F238E27FC236}">
                <a16:creationId xmlns=""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=""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7" name="Marcador de texto 7">
            <a:extLst>
              <a:ext uri="{FF2B5EF4-FFF2-40B4-BE49-F238E27FC236}">
                <a16:creationId xmlns=""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=""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4" name="Conector recto 18">
            <a:extLst>
              <a:ext uri="{FF2B5EF4-FFF2-40B4-BE49-F238E27FC236}">
                <a16:creationId xmlns="" xmlns:a16="http://schemas.microsoft.com/office/drawing/2014/main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="" xmlns:a16="http://schemas.microsoft.com/office/drawing/2014/main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="" xmlns:a16="http://schemas.microsoft.com/office/drawing/2014/main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="" xmlns:a16="http://schemas.microsoft.com/office/drawing/2014/main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="" xmlns:a16="http://schemas.microsoft.com/office/drawing/2014/main" id="{B8DC576C-15E6-FE41-990D-4FF687B547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50081733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5541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5CBAC14D-C4ED-C1DE-687D-CCFA2D8B0D8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="" xmlns:a16="http://schemas.microsoft.com/office/drawing/2014/main" id="{5EC1BBDE-9E66-E64E-A184-B8DBC3F961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1061221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="" xmlns:a16="http://schemas.microsoft.com/office/drawing/2014/main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2" name="Conector recto 18">
            <a:extLst>
              <a:ext uri="{FF2B5EF4-FFF2-40B4-BE49-F238E27FC236}">
                <a16:creationId xmlns="" xmlns:a16="http://schemas.microsoft.com/office/drawing/2014/main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="" xmlns:a16="http://schemas.microsoft.com/office/drawing/2014/main" id="{CD386A07-FD78-8D45-9FB2-5A2EBD6336B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04990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2" name="Conector recto 18">
            <a:extLst>
              <a:ext uri="{FF2B5EF4-FFF2-40B4-BE49-F238E27FC236}">
                <a16:creationId xmlns="" xmlns:a16="http://schemas.microsoft.com/office/drawing/2014/main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="" xmlns:a16="http://schemas.microsoft.com/office/drawing/2014/main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0E079C94-C91E-EE4C-9698-4D039A3E0E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9711991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339450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=""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=""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=""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=""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=""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</a:t>
            </a:r>
            <a:r>
              <a:rPr lang="es-ES" dirty="0"/>
              <a:t>Arial </a:t>
            </a:r>
            <a:r>
              <a:rPr lang="es-CL" dirty="0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="" xmlns:a16="http://schemas.microsoft.com/office/drawing/2014/main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9">
            <a:extLst>
              <a:ext uri="{FF2B5EF4-FFF2-40B4-BE49-F238E27FC236}">
                <a16:creationId xmlns="" xmlns:a16="http://schemas.microsoft.com/office/drawing/2014/main" id="{8597D40C-6AA4-DE48-8FA8-8E5105CFB5F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3723315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="" xmlns:a16="http://schemas.microsoft.com/office/drawing/2014/main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=""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=""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=""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="" xmlns:a16="http://schemas.microsoft.com/office/drawing/2014/main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48" name="Marcador de texto 7">
            <a:extLst>
              <a:ext uri="{FF2B5EF4-FFF2-40B4-BE49-F238E27FC236}">
                <a16:creationId xmlns="" xmlns:a16="http://schemas.microsoft.com/office/drawing/2014/main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9" name="Marcador de texto 7">
            <a:extLst>
              <a:ext uri="{FF2B5EF4-FFF2-40B4-BE49-F238E27FC236}">
                <a16:creationId xmlns="" xmlns:a16="http://schemas.microsoft.com/office/drawing/2014/main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="" xmlns:a16="http://schemas.microsoft.com/office/drawing/2014/main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0" name="Marcador de texto 4">
            <a:extLst>
              <a:ext uri="{FF2B5EF4-FFF2-40B4-BE49-F238E27FC236}">
                <a16:creationId xmlns="" xmlns:a16="http://schemas.microsoft.com/office/drawing/2014/main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</a:t>
            </a:r>
            <a:r>
              <a:rPr lang="es-ES" dirty="0"/>
              <a:t>Arial </a:t>
            </a:r>
            <a:r>
              <a:rPr lang="es-CL" dirty="0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="" xmlns:a16="http://schemas.microsoft.com/office/drawing/2014/main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3" name="Marcador de texto 7">
            <a:extLst>
              <a:ext uri="{FF2B5EF4-FFF2-40B4-BE49-F238E27FC236}">
                <a16:creationId xmlns="" xmlns:a16="http://schemas.microsoft.com/office/drawing/2014/main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="" xmlns:a16="http://schemas.microsoft.com/office/drawing/2014/main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2" name="Conector recto 18">
            <a:extLst>
              <a:ext uri="{FF2B5EF4-FFF2-40B4-BE49-F238E27FC236}">
                <a16:creationId xmlns="" xmlns:a16="http://schemas.microsoft.com/office/drawing/2014/main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="" xmlns:a16="http://schemas.microsoft.com/office/drawing/2014/main" id="{0DFFBD6C-3C08-6E43-B9F5-5E05FD52AAC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746864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="" xmlns:a16="http://schemas.microsoft.com/office/drawing/2014/main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="" xmlns:a16="http://schemas.microsoft.com/office/drawing/2014/main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</a:t>
            </a:r>
            <a:r>
              <a:rPr lang="es-ES" dirty="0"/>
              <a:t>Arial </a:t>
            </a:r>
            <a:r>
              <a:rPr lang="es-CL" dirty="0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3" name="Conector recto 18">
            <a:extLst>
              <a:ext uri="{FF2B5EF4-FFF2-40B4-BE49-F238E27FC236}">
                <a16:creationId xmlns="" xmlns:a16="http://schemas.microsoft.com/office/drawing/2014/main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6" name="Marcador de texto 7">
            <a:extLst>
              <a:ext uri="{FF2B5EF4-FFF2-40B4-BE49-F238E27FC236}">
                <a16:creationId xmlns="" xmlns:a16="http://schemas.microsoft.com/office/drawing/2014/main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="" xmlns:a16="http://schemas.microsoft.com/office/drawing/2014/main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="" xmlns:a16="http://schemas.microsoft.com/office/drawing/2014/main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pic>
        <p:nvPicPr>
          <p:cNvPr id="22" name="Picture 9">
            <a:extLst>
              <a:ext uri="{FF2B5EF4-FFF2-40B4-BE49-F238E27FC236}">
                <a16:creationId xmlns="" xmlns:a16="http://schemas.microsoft.com/office/drawing/2014/main" id="{01E58C8B-B6EE-DC46-9956-AC75DE22C9B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9458002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="" xmlns:a16="http://schemas.microsoft.com/office/drawing/2014/main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=""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0" name="Marcador de texto 4">
            <a:extLst>
              <a:ext uri="{FF2B5EF4-FFF2-40B4-BE49-F238E27FC236}">
                <a16:creationId xmlns="" xmlns:a16="http://schemas.microsoft.com/office/drawing/2014/main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</a:t>
            </a:r>
            <a:r>
              <a:rPr lang="es-ES" dirty="0" err="1"/>
              <a:t>Achs</a:t>
            </a:r>
            <a:r>
              <a:rPr lang="es-ES" dirty="0"/>
              <a:t> Nueva Sans 9</a:t>
            </a:r>
          </a:p>
          <a:p>
            <a:pPr lvl="0"/>
            <a:r>
              <a:rPr lang="es-CL" dirty="0"/>
              <a:t>Texto secundario fuente </a:t>
            </a:r>
            <a:r>
              <a:rPr lang="es-ES" dirty="0" err="1"/>
              <a:t>Achs</a:t>
            </a:r>
            <a:r>
              <a:rPr lang="es-ES" dirty="0"/>
              <a:t> Nueva Sans</a:t>
            </a:r>
            <a:r>
              <a:rPr lang="es-CL" dirty="0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4" name="Conector recto 18">
            <a:extLst>
              <a:ext uri="{FF2B5EF4-FFF2-40B4-BE49-F238E27FC236}">
                <a16:creationId xmlns="" xmlns:a16="http://schemas.microsoft.com/office/drawing/2014/main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="" xmlns:a16="http://schemas.microsoft.com/office/drawing/2014/main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="" xmlns:a16="http://schemas.microsoft.com/office/drawing/2014/main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pic>
        <p:nvPicPr>
          <p:cNvPr id="21" name="Picture 9">
            <a:extLst>
              <a:ext uri="{FF2B5EF4-FFF2-40B4-BE49-F238E27FC236}">
                <a16:creationId xmlns="" xmlns:a16="http://schemas.microsoft.com/office/drawing/2014/main" id="{30507858-6B48-9E41-AD16-D020E85676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58351840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95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=""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Freeform 21">
            <a:extLst>
              <a:ext uri="{FF2B5EF4-FFF2-40B4-BE49-F238E27FC236}">
                <a16:creationId xmlns=""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=""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=""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0" name="Marcador de texto 4">
            <a:extLst>
              <a:ext uri="{FF2B5EF4-FFF2-40B4-BE49-F238E27FC236}">
                <a16:creationId xmlns="" xmlns:a16="http://schemas.microsoft.com/office/drawing/2014/main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</a:t>
            </a:r>
            <a:r>
              <a:rPr lang="es-ES" dirty="0"/>
              <a:t>Arial </a:t>
            </a:r>
            <a:r>
              <a:rPr lang="es-CL" dirty="0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6" name="Marcador de texto 7">
            <a:extLst>
              <a:ext uri="{FF2B5EF4-FFF2-40B4-BE49-F238E27FC236}">
                <a16:creationId xmlns=""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pic>
        <p:nvPicPr>
          <p:cNvPr id="24" name="Picture 9">
            <a:extLst>
              <a:ext uri="{FF2B5EF4-FFF2-40B4-BE49-F238E27FC236}">
                <a16:creationId xmlns="" xmlns:a16="http://schemas.microsoft.com/office/drawing/2014/main" id="{75C99C3D-5ECB-4B47-A454-878F8E7CDE2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196390071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orient="horz" pos="1094">
          <p15:clr>
            <a:srgbClr val="FBAE40"/>
          </p15:clr>
        </p15:guide>
        <p15:guide id="3" orient="horz" pos="2546">
          <p15:clr>
            <a:srgbClr val="FBAE40"/>
          </p15:clr>
        </p15:guide>
        <p15:guide id="4" orient="horz" pos="3816">
          <p15:clr>
            <a:srgbClr val="FBAE40"/>
          </p15:clr>
        </p15:guide>
        <p15:guide id="5" pos="1504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="" xmlns:a16="http://schemas.microsoft.com/office/drawing/2014/main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2</a:t>
            </a:r>
            <a:endParaRPr lang="es-CL" dirty="0"/>
          </a:p>
        </p:txBody>
      </p:sp>
      <p:sp>
        <p:nvSpPr>
          <p:cNvPr id="62" name="Marcador de texto 7">
            <a:extLst>
              <a:ext uri="{FF2B5EF4-FFF2-40B4-BE49-F238E27FC236}">
                <a16:creationId xmlns=""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63" name="Marcador de texto 7">
            <a:extLst>
              <a:ext uri="{FF2B5EF4-FFF2-40B4-BE49-F238E27FC236}">
                <a16:creationId xmlns=""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2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=""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2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03" name="Marcador de texto 7">
            <a:extLst>
              <a:ext uri="{FF2B5EF4-FFF2-40B4-BE49-F238E27FC236}">
                <a16:creationId xmlns=""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05" name="Marcador de texto 7">
            <a:extLst>
              <a:ext uri="{FF2B5EF4-FFF2-40B4-BE49-F238E27FC236}">
                <a16:creationId xmlns=""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2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=""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=""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2</a:t>
            </a:r>
            <a:endParaRPr lang="es-CL" dirty="0"/>
          </a:p>
        </p:txBody>
      </p: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16" name="Marcador de texto 7">
            <a:extLst>
              <a:ext uri="{FF2B5EF4-FFF2-40B4-BE49-F238E27FC236}">
                <a16:creationId xmlns=""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18" name="Marcador de texto 7">
            <a:extLst>
              <a:ext uri="{FF2B5EF4-FFF2-40B4-BE49-F238E27FC236}">
                <a16:creationId xmlns=""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2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=""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=""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="" xmlns:a16="http://schemas.microsoft.com/office/drawing/2014/main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8" name="Marcador de texto 4">
            <a:extLst>
              <a:ext uri="{FF2B5EF4-FFF2-40B4-BE49-F238E27FC236}">
                <a16:creationId xmlns="" xmlns:a16="http://schemas.microsoft.com/office/drawing/2014/main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</a:t>
            </a:r>
            <a:r>
              <a:rPr lang="es-ES" dirty="0"/>
              <a:t>Arial </a:t>
            </a:r>
            <a:r>
              <a:rPr lang="es-CL" dirty="0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="" xmlns:a16="http://schemas.microsoft.com/office/drawing/2014/main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2" name="Rounded Rectangle 11">
            <a:extLst>
              <a:ext uri="{FF2B5EF4-FFF2-40B4-BE49-F238E27FC236}">
                <a16:creationId xmlns="" xmlns:a16="http://schemas.microsoft.com/office/drawing/2014/main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pic>
        <p:nvPicPr>
          <p:cNvPr id="32" name="Picture 9">
            <a:extLst>
              <a:ext uri="{FF2B5EF4-FFF2-40B4-BE49-F238E27FC236}">
                <a16:creationId xmlns="" xmlns:a16="http://schemas.microsoft.com/office/drawing/2014/main" id="{8772F3A8-1D99-6641-B3F7-B75A3ECB0D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2606406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=""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=""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=""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0" name="Picture 9">
            <a:extLst>
              <a:ext uri="{FF2B5EF4-FFF2-40B4-BE49-F238E27FC236}">
                <a16:creationId xmlns="" xmlns:a16="http://schemas.microsoft.com/office/drawing/2014/main" id="{76AF13A1-963E-1349-B0F8-BC3764CA00D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88488257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=""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=""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=""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5" name="Picture 9">
            <a:extLst>
              <a:ext uri="{FF2B5EF4-FFF2-40B4-BE49-F238E27FC236}">
                <a16:creationId xmlns="" xmlns:a16="http://schemas.microsoft.com/office/drawing/2014/main" id="{82A4F448-A111-C04A-BD52-267DA58C44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22701567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=""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="" xmlns:a16="http://schemas.microsoft.com/office/drawing/2014/main" id="{7A130A72-D212-A248-89EA-57FD7F4D95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72488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=""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="" xmlns:a16="http://schemas.microsoft.com/office/drawing/2014/main" id="{2A60C413-F74F-A342-BF7D-FEA64A016E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155094019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RA FOT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421253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=""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=""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=""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=""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=""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=""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=""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=""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=""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9">
            <a:extLst>
              <a:ext uri="{FF2B5EF4-FFF2-40B4-BE49-F238E27FC236}">
                <a16:creationId xmlns="" xmlns:a16="http://schemas.microsoft.com/office/drawing/2014/main" id="{7AAA2658-B479-A44D-BC0D-8B81C32F26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98892261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5632">
          <p15:clr>
            <a:srgbClr val="FBAE40"/>
          </p15:clr>
        </p15:guide>
        <p15:guide id="3" pos="3840">
          <p15:clr>
            <a:srgbClr val="FBAE40"/>
          </p15:clr>
        </p15:guide>
        <p15:guide id="4" pos="2048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=""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=""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=""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=""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=""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=""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=""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92" name="Marcador de texto 7">
            <a:extLst>
              <a:ext uri="{FF2B5EF4-FFF2-40B4-BE49-F238E27FC236}">
                <a16:creationId xmlns=""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=""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3" name="Conector recto 18">
            <a:extLst>
              <a:ext uri="{FF2B5EF4-FFF2-40B4-BE49-F238E27FC236}">
                <a16:creationId xmlns="" xmlns:a16="http://schemas.microsoft.com/office/drawing/2014/main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="" xmlns:a16="http://schemas.microsoft.com/office/drawing/2014/main" id="{D2BC01B7-7F51-FE41-8A90-8B20D4F886F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52475161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8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=""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=""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=""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=""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=""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=""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=""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=""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="" xmlns:a16="http://schemas.microsoft.com/office/drawing/2014/main" id="{9A5072A0-4002-E44F-8370-B6A8779A5FB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98900675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7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  <p15:guide id="6" orient="horz" pos="66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="" xmlns:a16="http://schemas.microsoft.com/office/drawing/2014/main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A10D525C-D188-C74B-8970-72D92A292A7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93903565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11422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=""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=""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=""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=""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9883131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=""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=""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=""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=""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277926F9-7738-E54C-AFDC-1307B1227F7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122615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="" xmlns:a16="http://schemas.microsoft.com/office/drawing/2014/main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="" xmlns:a16="http://schemas.microsoft.com/office/drawing/2014/main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Diapositiva de think-cell" r:id="rId7" imgW="0" imgH="0" progId="TCLayout.ActiveDocument.1">
                  <p:embed/>
                </p:oleObj>
              </mc:Choice>
              <mc:Fallback>
                <p:oleObj name="Diapositiva de think-cell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=""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="" xmlns:a16="http://schemas.microsoft.com/office/drawing/2014/main" id="{543DA8BA-4F7D-714C-AC44-D7DAA46C1F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2347419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2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=""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ACCBF752-43F9-3D42-A021-FF715DC7715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2348567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=""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7336333D-C26B-EB07-8FBD-B3FD72C3649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70064875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32991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=""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6232B572-5761-5C00-420A-B9EDA9F6468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4072366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45E27719-0FF0-A561-FD72-4E80D637995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" name="Diapositiva de think-cell" r:id="rId6" imgW="0" imgH="0" progId="TCLayout.ActiveDocument.1">
                  <p:embed/>
                </p:oleObj>
              </mc:Choice>
              <mc:Fallback>
                <p:oleObj name="Diapositiva de think-cell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=""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5387919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=""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C4780D07-F93A-DD47-B2C4-CBAED270497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64272908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="" xmlns:a16="http://schemas.microsoft.com/office/drawing/2014/main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7" name="Marcador de texto 2">
            <a:extLst>
              <a:ext uri="{FF2B5EF4-FFF2-40B4-BE49-F238E27FC236}">
                <a16:creationId xmlns="" xmlns:a16="http://schemas.microsoft.com/office/drawing/2014/main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6" name="Conector recto 18">
            <a:extLst>
              <a:ext uri="{FF2B5EF4-FFF2-40B4-BE49-F238E27FC236}">
                <a16:creationId xmlns="" xmlns:a16="http://schemas.microsoft.com/office/drawing/2014/main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0AAD014A-0DF0-AC4A-9E64-8615A5ADB1C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4846120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="" xmlns:a16="http://schemas.microsoft.com/office/drawing/2014/main" id="{E5CD9CBF-A93C-DD43-BF3E-8C7BA32A5DE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defTabSz="1219169" hangingPunct="0">
              <a:lnSpc>
                <a:spcPct val="90000"/>
              </a:lnSpc>
              <a:spcBef>
                <a:spcPts val="2250"/>
              </a:spcBef>
            </a:pPr>
            <a:endParaRPr lang="es-ES_tradnl" sz="2400" kern="0" dirty="0">
              <a:solidFill>
                <a:srgbClr val="000000"/>
              </a:solidFill>
              <a:sym typeface="Helvetica Neue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EBA8D440-0ABE-BD82-A4B3-13C03758693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B55A5C5-BD37-44C3-9A85-00B45CBFFE2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8" name="Text Placeholder 12">
            <a:extLst>
              <a:ext uri="{FF2B5EF4-FFF2-40B4-BE49-F238E27FC236}">
                <a16:creationId xmlns="" xmlns:a16="http://schemas.microsoft.com/office/drawing/2014/main" id="{2D5F2992-1A52-D84B-F77B-33F2FC0BD6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208133AB-8C7A-F335-9011-A3A3DFE5630F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5C887ED0-03D5-5A27-4D89-5F15E5AC38E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C69A6064-99A3-CF43-9426-0E7E1FBFBC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32024694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Muchas</a:t>
            </a:r>
          </a:p>
          <a:p>
            <a:pPr lvl="0"/>
            <a:r>
              <a:rPr lang="es-ES" dirty="0"/>
              <a:t>gracias!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6" name="Picture 9">
            <a:extLst>
              <a:ext uri="{FF2B5EF4-FFF2-40B4-BE49-F238E27FC236}">
                <a16:creationId xmlns="" xmlns:a16="http://schemas.microsoft.com/office/drawing/2014/main" id="{2D6A441B-9F39-2F47-A862-787FE18E64E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66002" y="5428821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98739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, icon&#10;&#10;Description automatically generated">
            <a:extLst>
              <a:ext uri="{FF2B5EF4-FFF2-40B4-BE49-F238E27FC236}">
                <a16:creationId xmlns="" xmlns:a16="http://schemas.microsoft.com/office/drawing/2014/main" id="{5601C5B0-498B-0F94-C22B-57E123A29F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797" y="2677886"/>
            <a:ext cx="864004" cy="864004"/>
          </a:xfrm>
          <a:prstGeom prst="rect">
            <a:avLst/>
          </a:prstGeom>
        </p:spPr>
      </p:pic>
      <p:sp>
        <p:nvSpPr>
          <p:cNvPr id="4" name="Asociación Chilena de Seguridad…">
            <a:extLst>
              <a:ext uri="{FF2B5EF4-FFF2-40B4-BE49-F238E27FC236}">
                <a16:creationId xmlns=""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1219169" hangingPunct="0">
              <a:lnSpc>
                <a:spcPct val="9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kern="0" dirty="0" err="1">
                <a:solidFill>
                  <a:srgbClr val="FFFFFF"/>
                </a:solidFill>
                <a:latin typeface="ACHS Nueva Sans" pitchFamily="2" charset="0"/>
                <a:ea typeface="Arial"/>
                <a:cs typeface="Arial" panose="020B0604020202020204" pitchFamily="34" charset="0"/>
                <a:sym typeface="Arial"/>
              </a:rPr>
              <a:t>Vive</a:t>
            </a:r>
            <a:r>
              <a:rPr lang="en-US" sz="2400" kern="0" dirty="0">
                <a:solidFill>
                  <a:srgbClr val="FFFFFF"/>
                </a:solidFill>
                <a:latin typeface="ACHS Nueva Sans" pitchFamily="2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ACHS Nueva Sans" pitchFamily="2" charset="0"/>
                <a:ea typeface="Arial"/>
                <a:cs typeface="Arial" panose="020B0604020202020204" pitchFamily="34" charset="0"/>
                <a:sym typeface="Arial"/>
              </a:rPr>
              <a:t>el</a:t>
            </a:r>
            <a:r>
              <a:rPr lang="en-US" sz="2400" kern="0" dirty="0">
                <a:solidFill>
                  <a:srgbClr val="FFFFFF"/>
                </a:solidFill>
                <a:latin typeface="ACHS Nueva Sans" pitchFamily="2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ACHS Nueva Sans" pitchFamily="2" charset="0"/>
                <a:ea typeface="Arial"/>
                <a:cs typeface="Arial" panose="020B0604020202020204" pitchFamily="34" charset="0"/>
                <a:sym typeface="Arial"/>
              </a:rPr>
              <a:t>cuidado</a:t>
            </a:r>
            <a:endParaRPr sz="2400" kern="0" dirty="0">
              <a:solidFill>
                <a:srgbClr val="FFFFFF"/>
              </a:solidFill>
              <a:latin typeface="ACHS Nueva Sans" pitchFamily="2" charset="0"/>
              <a:ea typeface="Arial"/>
              <a:cs typeface="Arial" panose="020B0604020202020204" pitchFamily="34" charset="0"/>
              <a:sym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3500236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F6EA5E9A-28A3-F8E1-6B4C-051C45579F5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179" y="2678505"/>
            <a:ext cx="864004" cy="864004"/>
          </a:xfrm>
          <a:prstGeom prst="rect">
            <a:avLst/>
          </a:prstGeom>
        </p:spPr>
      </p:pic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sociación Chilena de Seguridad…">
            <a:extLst>
              <a:ext uri="{FF2B5EF4-FFF2-40B4-BE49-F238E27FC236}">
                <a16:creationId xmlns="" xmlns:a16="http://schemas.microsoft.com/office/drawing/2014/main" id="{AEDD9A90-5563-77E0-D9BB-5FBED01B8E93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1219169" hangingPunct="0">
              <a:lnSpc>
                <a:spcPct val="9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Vive</a:t>
            </a:r>
            <a:r>
              <a:rPr lang="en-US" sz="2400" kern="0" dirty="0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24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el</a:t>
            </a:r>
            <a:r>
              <a:rPr lang="en-US" sz="2400" kern="0" dirty="0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24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cuidado</a:t>
            </a:r>
            <a:endParaRPr sz="2400" kern="0" dirty="0">
              <a:solidFill>
                <a:srgbClr val="014B14"/>
              </a:solidFill>
              <a:ea typeface="Arial"/>
              <a:cs typeface="Arial" panose="020B0604020202020204" pitchFamily="34" charset="0"/>
              <a:sym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72997449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20746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8101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0633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07875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24818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40420343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67742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90490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12366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99403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33758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64836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75460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40536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28531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7836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847290" y="188640"/>
            <a:ext cx="1223817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77" dirty="0">
              <a:latin typeface="ACHS Nueva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5687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14090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27243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39661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89059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33142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53680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2956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25008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94639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36730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7616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11079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0951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83623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2309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90009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49682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24526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72560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1507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438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o 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03312" y="0"/>
            <a:ext cx="1488688" cy="1656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77" dirty="0">
              <a:latin typeface="ACHS Nueva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86228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80809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56446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43240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5393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5140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41410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840221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703348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965864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97737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66343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7420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28590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5952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0590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39246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809099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79814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81381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2622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632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946910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228052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757307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58446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503544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2204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661079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085411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81345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63654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7137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820664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27248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103956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567132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506502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36357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89984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10-2023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689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10-2023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55843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10-2023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83884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10-2023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4873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711101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="" xmlns:a16="http://schemas.microsoft.com/office/drawing/2014/main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="" xmlns:a16="http://schemas.microsoft.com/office/drawing/2014/main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10-2023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="" xmlns:a16="http://schemas.microsoft.com/office/drawing/2014/main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="" xmlns:a16="http://schemas.microsoft.com/office/drawing/2014/main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13788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10-2023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24500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10-2023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83486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10-2023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0360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10-2023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76774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10-2023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95196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10-2023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1305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AB284AD3-DA1F-C94F-A358-BE3BC8C70D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3" y="2351669"/>
            <a:ext cx="4418467" cy="180503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90591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=""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Diapositiva de think-cell" r:id="rId6" imgW="7772400" imgH="10058400" progId="TCLayout.ActiveDocument.1">
                  <p:embed/>
                </p:oleObj>
              </mc:Choice>
              <mc:Fallback>
                <p:oleObj name="Diapositiva de think-cell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Menú</a:t>
            </a:r>
            <a:endParaRPr lang="es-CL" dirty="0"/>
          </a:p>
        </p:txBody>
      </p:sp>
      <p:sp>
        <p:nvSpPr>
          <p:cNvPr id="9" name="Marcador de texto 4">
            <a:extLst>
              <a:ext uri="{FF2B5EF4-FFF2-40B4-BE49-F238E27FC236}">
                <a16:creationId xmlns=""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1" name="Marcador de texto 4">
            <a:extLst>
              <a:ext uri="{FF2B5EF4-FFF2-40B4-BE49-F238E27FC236}">
                <a16:creationId xmlns=""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6" name="Marcador de texto 4">
            <a:extLst>
              <a:ext uri="{FF2B5EF4-FFF2-40B4-BE49-F238E27FC236}">
                <a16:creationId xmlns=""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7" name="Marcador de texto 4">
            <a:extLst>
              <a:ext uri="{FF2B5EF4-FFF2-40B4-BE49-F238E27FC236}">
                <a16:creationId xmlns=""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8" name="Marcador de texto 4">
            <a:extLst>
              <a:ext uri="{FF2B5EF4-FFF2-40B4-BE49-F238E27FC236}">
                <a16:creationId xmlns=""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22040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77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B00B213D-8867-D142-8D90-9F4B25F1F40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087592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9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38.xml"/><Relationship Id="rId47" Type="http://schemas.openxmlformats.org/officeDocument/2006/relationships/slideLayout" Target="../slideLayouts/slideLayout143.xml"/><Relationship Id="rId50" Type="http://schemas.openxmlformats.org/officeDocument/2006/relationships/slideLayout" Target="../slideLayouts/slideLayout146.xml"/><Relationship Id="rId55" Type="http://schemas.openxmlformats.org/officeDocument/2006/relationships/tags" Target="../tags/tag6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9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28.xml"/><Relationship Id="rId37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36.xml"/><Relationship Id="rId45" Type="http://schemas.openxmlformats.org/officeDocument/2006/relationships/slideLayout" Target="../slideLayouts/slideLayout141.xml"/><Relationship Id="rId53" Type="http://schemas.openxmlformats.org/officeDocument/2006/relationships/vmlDrawing" Target="../drawings/vmlDrawing1.vml"/><Relationship Id="rId5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slideLayout" Target="../slideLayouts/slideLayout131.xml"/><Relationship Id="rId43" Type="http://schemas.openxmlformats.org/officeDocument/2006/relationships/slideLayout" Target="../slideLayouts/slideLayout139.xml"/><Relationship Id="rId48" Type="http://schemas.openxmlformats.org/officeDocument/2006/relationships/slideLayout" Target="../slideLayouts/slideLayout144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104.xml"/><Relationship Id="rId51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slideLayout" Target="../slideLayouts/slideLayout129.xml"/><Relationship Id="rId38" Type="http://schemas.openxmlformats.org/officeDocument/2006/relationships/slideLayout" Target="../slideLayouts/slideLayout134.xml"/><Relationship Id="rId46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37.xml"/><Relationship Id="rId54" Type="http://schemas.openxmlformats.org/officeDocument/2006/relationships/tags" Target="../tags/tag5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slideLayout" Target="../slideLayouts/slideLayout132.xml"/><Relationship Id="rId49" Type="http://schemas.openxmlformats.org/officeDocument/2006/relationships/slideLayout" Target="../slideLayouts/slideLayout145.xml"/><Relationship Id="rId57" Type="http://schemas.openxmlformats.org/officeDocument/2006/relationships/image" Target="../media/image2.emf"/><Relationship Id="rId10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27.xml"/><Relationship Id="rId44" Type="http://schemas.openxmlformats.org/officeDocument/2006/relationships/slideLayout" Target="../slideLayouts/slideLayout140.xml"/><Relationship Id="rId52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27"/>
    </p:custDataLst>
    <p:extLst>
      <p:ext uri="{BB962C8B-B14F-4D97-AF65-F5344CB8AC3E}">
        <p14:creationId xmlns:p14="http://schemas.microsoft.com/office/powerpoint/2010/main" val="844949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67" r:id="rId4"/>
    <p:sldLayoutId id="2147483676" r:id="rId5"/>
    <p:sldLayoutId id="2147483678" r:id="rId6"/>
    <p:sldLayoutId id="2147483682" r:id="rId7"/>
    <p:sldLayoutId id="2147483683" r:id="rId8"/>
    <p:sldLayoutId id="2147483684" r:id="rId9"/>
    <p:sldLayoutId id="2147483687" r:id="rId10"/>
    <p:sldLayoutId id="2147483690" r:id="rId11"/>
    <p:sldLayoutId id="2147483698" r:id="rId12"/>
    <p:sldLayoutId id="2147483707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20" r:id="rId24"/>
    <p:sldLayoutId id="2147483735" r:id="rId25"/>
  </p:sldLayoutIdLst>
  <p:txStyles>
    <p:titleStyle>
      <a:lvl1pPr algn="ctr" defTabSz="902842" rtl="0" eaLnBrk="1" latinLnBrk="0" hangingPunct="1">
        <a:spcBef>
          <a:spcPct val="0"/>
        </a:spcBef>
        <a:buNone/>
        <a:defRPr sz="43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8566" indent="-338566" algn="l" defTabSz="902842" rtl="0" eaLnBrk="1" latinLnBrk="0" hangingPunct="1">
        <a:spcBef>
          <a:spcPct val="20000"/>
        </a:spcBef>
        <a:buFont typeface="Arial" pitchFamily="34" charset="0"/>
        <a:buChar char="•"/>
        <a:defRPr sz="3160" kern="1200">
          <a:solidFill>
            <a:schemeClr val="tx1"/>
          </a:solidFill>
          <a:latin typeface="+mn-lt"/>
          <a:ea typeface="+mn-ea"/>
          <a:cs typeface="+mn-cs"/>
        </a:defRPr>
      </a:lvl1pPr>
      <a:lvl2pPr marL="733559" indent="-282138" algn="l" defTabSz="902842" rtl="0" eaLnBrk="1" latinLnBrk="0" hangingPunct="1">
        <a:spcBef>
          <a:spcPct val="20000"/>
        </a:spcBef>
        <a:buFont typeface="Arial" pitchFamily="34" charset="0"/>
        <a:buChar char="–"/>
        <a:defRPr sz="2765" kern="1200">
          <a:solidFill>
            <a:schemeClr val="tx1"/>
          </a:solidFill>
          <a:latin typeface="+mn-lt"/>
          <a:ea typeface="+mn-ea"/>
          <a:cs typeface="+mn-cs"/>
        </a:defRPr>
      </a:lvl2pPr>
      <a:lvl3pPr marL="1128552" indent="-225710" algn="l" defTabSz="902842" rtl="0" eaLnBrk="1" latinLnBrk="0" hangingPunct="1">
        <a:spcBef>
          <a:spcPct val="20000"/>
        </a:spcBef>
        <a:buFont typeface="Arial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3pPr>
      <a:lvl4pPr marL="1579974" indent="-225710" algn="l" defTabSz="902842" rtl="0" eaLnBrk="1" latinLnBrk="0" hangingPunct="1">
        <a:spcBef>
          <a:spcPct val="20000"/>
        </a:spcBef>
        <a:buFont typeface="Arial" pitchFamily="34" charset="0"/>
        <a:buChar char="–"/>
        <a:defRPr sz="1975" kern="1200">
          <a:solidFill>
            <a:schemeClr val="tx1"/>
          </a:solidFill>
          <a:latin typeface="+mn-lt"/>
          <a:ea typeface="+mn-ea"/>
          <a:cs typeface="+mn-cs"/>
        </a:defRPr>
      </a:lvl4pPr>
      <a:lvl5pPr marL="2031395" indent="-225710" algn="l" defTabSz="902842" rtl="0" eaLnBrk="1" latinLnBrk="0" hangingPunct="1">
        <a:spcBef>
          <a:spcPct val="20000"/>
        </a:spcBef>
        <a:buFont typeface="Arial" pitchFamily="34" charset="0"/>
        <a:buChar char="»"/>
        <a:defRPr sz="1975" kern="1200">
          <a:solidFill>
            <a:schemeClr val="tx1"/>
          </a:solidFill>
          <a:latin typeface="+mn-lt"/>
          <a:ea typeface="+mn-ea"/>
          <a:cs typeface="+mn-cs"/>
        </a:defRPr>
      </a:lvl5pPr>
      <a:lvl6pPr marL="2482816" indent="-225710" algn="l" defTabSz="902842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6pPr>
      <a:lvl7pPr marL="2934236" indent="-225710" algn="l" defTabSz="902842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7pPr>
      <a:lvl8pPr marL="3385657" indent="-225710" algn="l" defTabSz="902842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8pPr>
      <a:lvl9pPr marL="3837078" indent="-225710" algn="l" defTabSz="902842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421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2842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264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5683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105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8526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59947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1368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o 7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1894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4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</p:sldLayoutIdLst>
  <p:txStyles>
    <p:titleStyle>
      <a:lvl1pPr algn="l" defTabSz="902842" rtl="0" eaLnBrk="1" latinLnBrk="0" hangingPunct="1">
        <a:lnSpc>
          <a:spcPct val="90000"/>
        </a:lnSpc>
        <a:spcBef>
          <a:spcPct val="0"/>
        </a:spcBef>
        <a:buNone/>
        <a:defRPr sz="43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5710" indent="-225710" algn="l" defTabSz="902842" rtl="0" eaLnBrk="1" latinLnBrk="0" hangingPunct="1">
        <a:lnSpc>
          <a:spcPct val="90000"/>
        </a:lnSpc>
        <a:spcBef>
          <a:spcPts val="988"/>
        </a:spcBef>
        <a:buFont typeface="Arial" panose="020B0604020202020204" pitchFamily="34" charset="0"/>
        <a:buChar char="•"/>
        <a:defRPr sz="2765" kern="1200">
          <a:solidFill>
            <a:schemeClr val="tx1"/>
          </a:solidFill>
          <a:latin typeface="+mn-lt"/>
          <a:ea typeface="+mn-ea"/>
          <a:cs typeface="+mn-cs"/>
        </a:defRPr>
      </a:lvl1pPr>
      <a:lvl2pPr marL="677131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2pPr>
      <a:lvl3pPr marL="1128552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3pPr>
      <a:lvl4pPr marL="1579974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2031395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48281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93423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385657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837078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421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2842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264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5683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105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8526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59947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1368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o 7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18015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63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02842" rtl="0" eaLnBrk="1" latinLnBrk="0" hangingPunct="1">
        <a:lnSpc>
          <a:spcPct val="90000"/>
        </a:lnSpc>
        <a:spcBef>
          <a:spcPct val="0"/>
        </a:spcBef>
        <a:buNone/>
        <a:defRPr sz="43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5710" indent="-225710" algn="l" defTabSz="902842" rtl="0" eaLnBrk="1" latinLnBrk="0" hangingPunct="1">
        <a:lnSpc>
          <a:spcPct val="90000"/>
        </a:lnSpc>
        <a:spcBef>
          <a:spcPts val="988"/>
        </a:spcBef>
        <a:buFont typeface="Arial" panose="020B0604020202020204" pitchFamily="34" charset="0"/>
        <a:buChar char="•"/>
        <a:defRPr sz="2765" kern="1200">
          <a:solidFill>
            <a:schemeClr val="tx1"/>
          </a:solidFill>
          <a:latin typeface="+mn-lt"/>
          <a:ea typeface="+mn-ea"/>
          <a:cs typeface="+mn-cs"/>
        </a:defRPr>
      </a:lvl1pPr>
      <a:lvl2pPr marL="677131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2pPr>
      <a:lvl3pPr marL="1128552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3pPr>
      <a:lvl4pPr marL="1579974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2031395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48281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93423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385657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837078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421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2842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264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5683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105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8526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59947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1368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o 7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75118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82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</p:sldLayoutIdLst>
  <p:txStyles>
    <p:titleStyle>
      <a:lvl1pPr algn="l" defTabSz="902842" rtl="0" eaLnBrk="1" latinLnBrk="0" hangingPunct="1">
        <a:lnSpc>
          <a:spcPct val="90000"/>
        </a:lnSpc>
        <a:spcBef>
          <a:spcPct val="0"/>
        </a:spcBef>
        <a:buNone/>
        <a:defRPr sz="43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5710" indent="-225710" algn="l" defTabSz="902842" rtl="0" eaLnBrk="1" latinLnBrk="0" hangingPunct="1">
        <a:lnSpc>
          <a:spcPct val="90000"/>
        </a:lnSpc>
        <a:spcBef>
          <a:spcPts val="988"/>
        </a:spcBef>
        <a:buFont typeface="Arial" panose="020B0604020202020204" pitchFamily="34" charset="0"/>
        <a:buChar char="•"/>
        <a:defRPr sz="2765" kern="1200">
          <a:solidFill>
            <a:schemeClr val="tx1"/>
          </a:solidFill>
          <a:latin typeface="+mn-lt"/>
          <a:ea typeface="+mn-ea"/>
          <a:cs typeface="+mn-cs"/>
        </a:defRPr>
      </a:lvl1pPr>
      <a:lvl2pPr marL="677131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2pPr>
      <a:lvl3pPr marL="1128552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3pPr>
      <a:lvl4pPr marL="1579974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2031395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48281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93423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385657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837078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421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2842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264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5683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105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8526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59947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1368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o 7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53447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801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</p:sldLayoutIdLst>
  <p:txStyles>
    <p:titleStyle>
      <a:lvl1pPr algn="l" defTabSz="902842" rtl="0" eaLnBrk="1" latinLnBrk="0" hangingPunct="1">
        <a:lnSpc>
          <a:spcPct val="90000"/>
        </a:lnSpc>
        <a:spcBef>
          <a:spcPct val="0"/>
        </a:spcBef>
        <a:buNone/>
        <a:defRPr sz="43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5710" indent="-225710" algn="l" defTabSz="902842" rtl="0" eaLnBrk="1" latinLnBrk="0" hangingPunct="1">
        <a:lnSpc>
          <a:spcPct val="90000"/>
        </a:lnSpc>
        <a:spcBef>
          <a:spcPts val="988"/>
        </a:spcBef>
        <a:buFont typeface="Arial" panose="020B0604020202020204" pitchFamily="34" charset="0"/>
        <a:buChar char="•"/>
        <a:defRPr sz="2765" kern="1200">
          <a:solidFill>
            <a:schemeClr val="tx1"/>
          </a:solidFill>
          <a:latin typeface="+mn-lt"/>
          <a:ea typeface="+mn-ea"/>
          <a:cs typeface="+mn-cs"/>
        </a:defRPr>
      </a:lvl1pPr>
      <a:lvl2pPr marL="677131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2pPr>
      <a:lvl3pPr marL="1128552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3pPr>
      <a:lvl4pPr marL="1579974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2031395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48281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93423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385657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837078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421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2842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264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5683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105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8526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59947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1368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o 7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62740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</p:sldLayoutIdLst>
  <p:txStyles>
    <p:titleStyle>
      <a:lvl1pPr algn="l" defTabSz="902842" rtl="0" eaLnBrk="1" latinLnBrk="0" hangingPunct="1">
        <a:lnSpc>
          <a:spcPct val="90000"/>
        </a:lnSpc>
        <a:spcBef>
          <a:spcPct val="0"/>
        </a:spcBef>
        <a:buNone/>
        <a:defRPr sz="43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5710" indent="-225710" algn="l" defTabSz="902842" rtl="0" eaLnBrk="1" latinLnBrk="0" hangingPunct="1">
        <a:lnSpc>
          <a:spcPct val="90000"/>
        </a:lnSpc>
        <a:spcBef>
          <a:spcPts val="988"/>
        </a:spcBef>
        <a:buFont typeface="Arial" panose="020B0604020202020204" pitchFamily="34" charset="0"/>
        <a:buChar char="•"/>
        <a:defRPr sz="2765" kern="1200">
          <a:solidFill>
            <a:schemeClr val="tx1"/>
          </a:solidFill>
          <a:latin typeface="+mn-lt"/>
          <a:ea typeface="+mn-ea"/>
          <a:cs typeface="+mn-cs"/>
        </a:defRPr>
      </a:lvl1pPr>
      <a:lvl2pPr marL="677131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2pPr>
      <a:lvl3pPr marL="1128552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3pPr>
      <a:lvl4pPr marL="1579974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2031395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48281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93423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385657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837078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421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2842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264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5683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105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8526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59947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1368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914400"/>
              <a:t>24-10-2023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537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/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Diapositiva de think-cell" r:id="rId56" imgW="7772400" imgH="10058400" progId="TCLayout.ActiveDocument.1">
                  <p:embed/>
                </p:oleObj>
              </mc:Choice>
              <mc:Fallback>
                <p:oleObj name="Diapositiva de think-cell" r:id="rId5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69" hangingPunct="0">
              <a:lnSpc>
                <a:spcPct val="90000"/>
              </a:lnSpc>
              <a:spcBef>
                <a:spcPts val="2250"/>
              </a:spcBef>
            </a:pPr>
            <a:fld id="{B37290F3-BA30-9341-A10E-737EC97582C1}" type="slidenum">
              <a:rPr lang="es-CL" kern="0" smtClean="0">
                <a:solidFill>
                  <a:srgbClr val="15BF45">
                    <a:tint val="75000"/>
                  </a:srgbClr>
                </a:solidFill>
                <a:sym typeface="Helvetica Neue"/>
              </a:rPr>
              <a:pPr defTabSz="1219169" hangingPunct="0">
                <a:lnSpc>
                  <a:spcPct val="90000"/>
                </a:lnSpc>
                <a:spcBef>
                  <a:spcPts val="2250"/>
                </a:spcBef>
              </a:pPr>
              <a:t>‹Nº›</a:t>
            </a:fld>
            <a:endParaRPr lang="es-CL" kern="0" dirty="0">
              <a:solidFill>
                <a:srgbClr val="15BF45">
                  <a:tint val="75000"/>
                </a:srgbClr>
              </a:solidFill>
              <a:sym typeface="Helvetica Neue"/>
            </a:endParaRPr>
          </a:p>
        </p:txBody>
      </p:sp>
    </p:spTree>
    <p:custDataLst>
      <p:tags r:id="rId54"/>
    </p:custDataLst>
    <p:extLst>
      <p:ext uri="{BB962C8B-B14F-4D97-AF65-F5344CB8AC3E}">
        <p14:creationId xmlns:p14="http://schemas.microsoft.com/office/powerpoint/2010/main" val="2667083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5" r:id="rId12"/>
    <p:sldLayoutId id="2147483856" r:id="rId13"/>
    <p:sldLayoutId id="2147483857" r:id="rId14"/>
    <p:sldLayoutId id="2147483858" r:id="rId15"/>
    <p:sldLayoutId id="2147483859" r:id="rId16"/>
    <p:sldLayoutId id="2147483860" r:id="rId17"/>
    <p:sldLayoutId id="2147483861" r:id="rId18"/>
    <p:sldLayoutId id="2147483862" r:id="rId19"/>
    <p:sldLayoutId id="2147483863" r:id="rId20"/>
    <p:sldLayoutId id="2147483864" r:id="rId21"/>
    <p:sldLayoutId id="2147483865" r:id="rId22"/>
    <p:sldLayoutId id="2147483866" r:id="rId23"/>
    <p:sldLayoutId id="2147483867" r:id="rId24"/>
    <p:sldLayoutId id="2147483868" r:id="rId25"/>
    <p:sldLayoutId id="2147483869" r:id="rId26"/>
    <p:sldLayoutId id="2147483870" r:id="rId27"/>
    <p:sldLayoutId id="2147483871" r:id="rId28"/>
    <p:sldLayoutId id="2147483872" r:id="rId29"/>
    <p:sldLayoutId id="2147483873" r:id="rId30"/>
    <p:sldLayoutId id="2147483874" r:id="rId31"/>
    <p:sldLayoutId id="2147483875" r:id="rId32"/>
    <p:sldLayoutId id="2147483876" r:id="rId33"/>
    <p:sldLayoutId id="2147483877" r:id="rId34"/>
    <p:sldLayoutId id="2147483878" r:id="rId35"/>
    <p:sldLayoutId id="2147483879" r:id="rId36"/>
    <p:sldLayoutId id="2147483880" r:id="rId37"/>
    <p:sldLayoutId id="2147483881" r:id="rId38"/>
    <p:sldLayoutId id="2147483882" r:id="rId39"/>
    <p:sldLayoutId id="2147483883" r:id="rId40"/>
    <p:sldLayoutId id="2147483884" r:id="rId41"/>
    <p:sldLayoutId id="2147483885" r:id="rId42"/>
    <p:sldLayoutId id="2147483886" r:id="rId43"/>
    <p:sldLayoutId id="2147483887" r:id="rId44"/>
    <p:sldLayoutId id="2147483888" r:id="rId45"/>
    <p:sldLayoutId id="2147483889" r:id="rId46"/>
    <p:sldLayoutId id="2147483890" r:id="rId47"/>
    <p:sldLayoutId id="2147483891" r:id="rId48"/>
    <p:sldLayoutId id="2147483892" r:id="rId49"/>
    <p:sldLayoutId id="2147483893" r:id="rId50"/>
    <p:sldLayoutId id="2147483894" r:id="rId51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89.xml"/><Relationship Id="rId5" Type="http://schemas.openxmlformats.org/officeDocument/2006/relationships/image" Target="../media/image35.png"/><Relationship Id="rId4" Type="http://schemas.openxmlformats.org/officeDocument/2006/relationships/image" Target="../media/image34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8.xml"/><Relationship Id="rId5" Type="http://schemas.openxmlformats.org/officeDocument/2006/relationships/image" Target="../media/image36.png"/><Relationship Id="rId4" Type="http://schemas.openxmlformats.org/officeDocument/2006/relationships/image" Target="../media/image45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9.xml"/><Relationship Id="rId5" Type="http://schemas.openxmlformats.org/officeDocument/2006/relationships/image" Target="../media/image36.png"/><Relationship Id="rId4" Type="http://schemas.openxmlformats.org/officeDocument/2006/relationships/image" Target="../media/image46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00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01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6.xml"/><Relationship Id="rId1" Type="http://schemas.openxmlformats.org/officeDocument/2006/relationships/tags" Target="../tags/tag103.xml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6.xml"/><Relationship Id="rId1" Type="http://schemas.openxmlformats.org/officeDocument/2006/relationships/tags" Target="../tags/tag104.xml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5.xml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06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5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07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9.emf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90.x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image" Target="../media/image3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6.xml"/><Relationship Id="rId1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91.xml"/><Relationship Id="rId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92.xml"/><Relationship Id="rId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93.xml"/><Relationship Id="rId5" Type="http://schemas.openxmlformats.org/officeDocument/2006/relationships/image" Target="../media/image40.png"/><Relationship Id="rId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4.xml"/><Relationship Id="rId1" Type="http://schemas.openxmlformats.org/officeDocument/2006/relationships/tags" Target="../tags/tag94.xml"/><Relationship Id="rId5" Type="http://schemas.openxmlformats.org/officeDocument/2006/relationships/image" Target="../media/image36.png"/><Relationship Id="rId4" Type="http://schemas.openxmlformats.org/officeDocument/2006/relationships/image" Target="../media/image4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4.xml"/><Relationship Id="rId1" Type="http://schemas.openxmlformats.org/officeDocument/2006/relationships/tags" Target="../tags/tag95.xml"/><Relationship Id="rId5" Type="http://schemas.openxmlformats.org/officeDocument/2006/relationships/image" Target="../media/image36.png"/><Relationship Id="rId4" Type="http://schemas.openxmlformats.org/officeDocument/2006/relationships/image" Target="../media/image4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6.xml"/><Relationship Id="rId5" Type="http://schemas.openxmlformats.org/officeDocument/2006/relationships/image" Target="../media/image36.png"/><Relationship Id="rId4" Type="http://schemas.openxmlformats.org/officeDocument/2006/relationships/image" Target="../media/image4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7.xml"/><Relationship Id="rId5" Type="http://schemas.openxmlformats.org/officeDocument/2006/relationships/image" Target="../media/image36.png"/><Relationship Id="rId4" Type="http://schemas.openxmlformats.org/officeDocument/2006/relationships/image" Target="../media/image4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7F0244B-234B-9C49-9FD5-2520C25AFB8E}"/>
              </a:ext>
            </a:extLst>
          </p:cNvPr>
          <p:cNvSpPr/>
          <p:nvPr/>
        </p:nvSpPr>
        <p:spPr>
          <a:xfrm flipH="1">
            <a:off x="-4" y="0"/>
            <a:ext cx="10854853" cy="6885384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4950" b="-181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 dirty="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77B7FB63-C398-C144-9EAF-6096D75B4F9B}"/>
              </a:ext>
            </a:extLst>
          </p:cNvPr>
          <p:cNvSpPr/>
          <p:nvPr/>
        </p:nvSpPr>
        <p:spPr>
          <a:xfrm>
            <a:off x="191344" y="4941168"/>
            <a:ext cx="5039290" cy="7586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02572">
              <a:defRPr/>
            </a:pPr>
            <a:r>
              <a:rPr lang="es-ES" sz="2935" b="1" dirty="0">
                <a:solidFill>
                  <a:prstClr val="white"/>
                </a:solidFill>
                <a:latin typeface="ACHS Nueva Serif Medium" pitchFamily="2" charset="0"/>
                <a:cs typeface="Arial" panose="020B0604020202020204" pitchFamily="34" charset="0"/>
              </a:rPr>
              <a:t>Desplazamiento </a:t>
            </a:r>
            <a:r>
              <a:rPr lang="es-ES" sz="2935" b="1" dirty="0">
                <a:solidFill>
                  <a:srgbClr val="0FC044"/>
                </a:solidFill>
                <a:latin typeface="ACHS Nueva Serif Medium" pitchFamily="2" charset="0"/>
                <a:cs typeface="Arial" panose="020B0604020202020204" pitchFamily="34" charset="0"/>
              </a:rPr>
              <a:t>seguro</a:t>
            </a:r>
            <a:r>
              <a:rPr lang="es-ES" sz="2935" b="1" dirty="0">
                <a:solidFill>
                  <a:srgbClr val="F2E500"/>
                </a:solidFill>
                <a:latin typeface="ACHS Nueva Serif Medium" pitchFamily="2" charset="0"/>
                <a:cs typeface="Arial" panose="020B0604020202020204" pitchFamily="34" charset="0"/>
              </a:rPr>
              <a:t> </a:t>
            </a:r>
            <a:r>
              <a:rPr lang="es-ES" sz="3010" b="1" dirty="0">
                <a:solidFill>
                  <a:prstClr val="white"/>
                </a:solidFill>
                <a:latin typeface="ACHS Nueva Serif Medium" pitchFamily="2" charset="0"/>
                <a:cs typeface="Arial" panose="020B0604020202020204" pitchFamily="34" charset="0"/>
              </a:rPr>
              <a:t>en tu lugar de trabajo</a:t>
            </a:r>
          </a:p>
          <a:p>
            <a:pPr defTabSz="902572">
              <a:defRPr/>
            </a:pPr>
            <a:endParaRPr lang="es-ES" sz="2935" b="1" dirty="0">
              <a:solidFill>
                <a:srgbClr val="F2E500"/>
              </a:solidFill>
              <a:latin typeface="ACHS Nueva Serif Medium" pitchFamily="2" charset="0"/>
              <a:cs typeface="Arial" panose="020B060402020202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56F8FB3E-1115-AF44-8483-459002671C71}"/>
              </a:ext>
            </a:extLst>
          </p:cNvPr>
          <p:cNvSpPr/>
          <p:nvPr/>
        </p:nvSpPr>
        <p:spPr>
          <a:xfrm>
            <a:off x="10810175" y="-27384"/>
            <a:ext cx="1381826" cy="6912768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9EBEE68B-BAE8-B342-8418-D29019ADFA0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1105" y="340403"/>
            <a:ext cx="866975" cy="1355747"/>
          </a:xfrm>
          <a:prstGeom prst="rect">
            <a:avLst/>
          </a:prstGeom>
        </p:spPr>
      </p:pic>
      <p:sp>
        <p:nvSpPr>
          <p:cNvPr id="17" name="Google Shape;1566;p161">
            <a:extLst>
              <a:ext uri="{FF2B5EF4-FFF2-40B4-BE49-F238E27FC236}">
                <a16:creationId xmlns:a16="http://schemas.microsoft.com/office/drawing/2014/main" xmlns="" id="{96FD4418-98E5-604A-B3D5-845AFB139DDF}"/>
              </a:ext>
            </a:extLst>
          </p:cNvPr>
          <p:cNvSpPr/>
          <p:nvPr/>
        </p:nvSpPr>
        <p:spPr>
          <a:xfrm>
            <a:off x="245213" y="4290937"/>
            <a:ext cx="1866269" cy="332604"/>
          </a:xfrm>
          <a:prstGeom prst="roundRect">
            <a:avLst>
              <a:gd name="adj" fmla="val 26667"/>
            </a:avLst>
          </a:prstGeom>
          <a:solidFill>
            <a:srgbClr val="7DFF45"/>
          </a:solidFill>
          <a:ln>
            <a:solidFill>
              <a:srgbClr val="22C24E"/>
            </a:solidFill>
          </a:ln>
        </p:spPr>
        <p:txBody>
          <a:bodyPr spcFirstLastPara="1" wrap="square" lIns="68791" tIns="34381" rIns="68791" bIns="34381" anchor="ctr" anchorCtr="0">
            <a:noAutofit/>
          </a:bodyPr>
          <a:lstStyle/>
          <a:p>
            <a:pPr>
              <a:buClr>
                <a:schemeClr val="lt1"/>
              </a:buClr>
              <a:buSzPts val="4400"/>
            </a:pPr>
            <a:r>
              <a:rPr lang="es-CL" sz="120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     </a:t>
            </a:r>
            <a:r>
              <a:rPr lang="es-CL" sz="120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Charla / </a:t>
            </a:r>
            <a:r>
              <a:rPr lang="es-CL" sz="1204" dirty="0" err="1" smtClean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Streaming</a:t>
            </a:r>
            <a:endParaRPr sz="1204" dirty="0">
              <a:solidFill>
                <a:srgbClr val="004C14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845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7135E93D-F974-0144-BBFC-58EF1A6BF95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" b="21090"/>
          <a:stretch/>
        </p:blipFill>
        <p:spPr>
          <a:xfrm>
            <a:off x="5591175" y="1118717"/>
            <a:ext cx="6600825" cy="5739283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xmlns="" id="{5BE697E9-74FE-DA41-A6A4-5A00F8968652}"/>
              </a:ext>
            </a:extLst>
          </p:cNvPr>
          <p:cNvSpPr txBox="1"/>
          <p:nvPr/>
        </p:nvSpPr>
        <p:spPr>
          <a:xfrm>
            <a:off x="522082" y="599784"/>
            <a:ext cx="4708662" cy="457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842">
              <a:defRPr/>
            </a:pPr>
            <a:r>
              <a:rPr lang="es-CL" sz="2370" b="1" dirty="0">
                <a:solidFill>
                  <a:prstClr val="white"/>
                </a:solidFill>
                <a:latin typeface="ACHS Nueva Sans" pitchFamily="2" charset="0"/>
                <a:cs typeface="Arial" panose="020B0604020202020204" pitchFamily="34" charset="0"/>
              </a:rPr>
              <a:t>Conceptos fundamentales</a:t>
            </a:r>
          </a:p>
        </p:txBody>
      </p:sp>
      <p:sp>
        <p:nvSpPr>
          <p:cNvPr id="10" name="Título 30">
            <a:extLst>
              <a:ext uri="{FF2B5EF4-FFF2-40B4-BE49-F238E27FC236}">
                <a16:creationId xmlns:a16="http://schemas.microsoft.com/office/drawing/2014/main" xmlns="" id="{B5120E94-02BA-DC45-9440-83A148D4312A}"/>
              </a:ext>
            </a:extLst>
          </p:cNvPr>
          <p:cNvSpPr txBox="1">
            <a:spLocks/>
          </p:cNvSpPr>
          <p:nvPr/>
        </p:nvSpPr>
        <p:spPr>
          <a:xfrm>
            <a:off x="402360" y="585708"/>
            <a:ext cx="5422711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000" dirty="0">
              <a:solidFill>
                <a:srgbClr val="004F59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C4DBD412-5E18-5A4A-BC9F-4C36FD0AB48E}"/>
              </a:ext>
            </a:extLst>
          </p:cNvPr>
          <p:cNvCxnSpPr>
            <a:cxnSpLocks/>
          </p:cNvCxnSpPr>
          <p:nvPr/>
        </p:nvCxnSpPr>
        <p:spPr>
          <a:xfrm>
            <a:off x="407368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Rectangle 3">
            <a:extLst>
              <a:ext uri="{FF2B5EF4-FFF2-40B4-BE49-F238E27FC236}">
                <a16:creationId xmlns:a16="http://schemas.microsoft.com/office/drawing/2014/main" xmlns="" id="{01AD2EEE-0ECC-CC44-8F63-2F9676B785A8}"/>
              </a:ext>
            </a:extLst>
          </p:cNvPr>
          <p:cNvSpPr/>
          <p:nvPr/>
        </p:nvSpPr>
        <p:spPr>
          <a:xfrm>
            <a:off x="319412" y="2420888"/>
            <a:ext cx="265096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Traslado por escalera con objetos o herramientas en ambas manos.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DFB3E980-3E5C-5043-ABD4-3D9D2A957AE0}"/>
              </a:ext>
            </a:extLst>
          </p:cNvPr>
          <p:cNvSpPr/>
          <p:nvPr/>
        </p:nvSpPr>
        <p:spPr>
          <a:xfrm>
            <a:off x="312745" y="301625"/>
            <a:ext cx="53152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Principales causas de los accidentes en el desplazamiento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53F9F9CC-FC54-514E-870E-2AAA1A8A34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44110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B5B91FE5-028D-8141-87AE-7E646B3FCDF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09" r="-8" b="11799"/>
          <a:stretch/>
        </p:blipFill>
        <p:spPr>
          <a:xfrm>
            <a:off x="5592959" y="1118413"/>
            <a:ext cx="6620230" cy="5739587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xmlns="" id="{5BE697E9-74FE-DA41-A6A4-5A00F8968652}"/>
              </a:ext>
            </a:extLst>
          </p:cNvPr>
          <p:cNvSpPr txBox="1"/>
          <p:nvPr/>
        </p:nvSpPr>
        <p:spPr>
          <a:xfrm>
            <a:off x="522082" y="599784"/>
            <a:ext cx="4708662" cy="457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842">
              <a:defRPr/>
            </a:pPr>
            <a:r>
              <a:rPr lang="es-CL" sz="2370" b="1" dirty="0">
                <a:solidFill>
                  <a:prstClr val="white"/>
                </a:solidFill>
                <a:latin typeface="ACHS Nueva Sans" pitchFamily="2" charset="0"/>
                <a:cs typeface="Arial" panose="020B0604020202020204" pitchFamily="34" charset="0"/>
              </a:rPr>
              <a:t>Conceptos fundamentales</a:t>
            </a:r>
          </a:p>
        </p:txBody>
      </p:sp>
      <p:sp>
        <p:nvSpPr>
          <p:cNvPr id="10" name="Título 30">
            <a:extLst>
              <a:ext uri="{FF2B5EF4-FFF2-40B4-BE49-F238E27FC236}">
                <a16:creationId xmlns:a16="http://schemas.microsoft.com/office/drawing/2014/main" xmlns="" id="{C119D911-F710-434B-AD50-160A0C0C1ACD}"/>
              </a:ext>
            </a:extLst>
          </p:cNvPr>
          <p:cNvSpPr txBox="1">
            <a:spLocks/>
          </p:cNvSpPr>
          <p:nvPr/>
        </p:nvSpPr>
        <p:spPr>
          <a:xfrm>
            <a:off x="312745" y="299966"/>
            <a:ext cx="4630623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Principales causas de los accidentes en el desplazamiento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916395A7-12DC-7446-8F9D-84113BF93830}"/>
              </a:ext>
            </a:extLst>
          </p:cNvPr>
          <p:cNvCxnSpPr>
            <a:cxnSpLocks/>
          </p:cNvCxnSpPr>
          <p:nvPr/>
        </p:nvCxnSpPr>
        <p:spPr>
          <a:xfrm>
            <a:off x="406400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Rectangle 3">
            <a:extLst>
              <a:ext uri="{FF2B5EF4-FFF2-40B4-BE49-F238E27FC236}">
                <a16:creationId xmlns:a16="http://schemas.microsoft.com/office/drawing/2014/main" xmlns="" id="{743E2F81-8937-5049-A418-49A2B6119612}"/>
              </a:ext>
            </a:extLst>
          </p:cNvPr>
          <p:cNvSpPr/>
          <p:nvPr/>
        </p:nvSpPr>
        <p:spPr>
          <a:xfrm>
            <a:off x="312745" y="2412177"/>
            <a:ext cx="20215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Obstrucción de vías de escape.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19EC034-86C5-5F43-8F89-25EA97146EF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16255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1336;p37">
            <a:extLst>
              <a:ext uri="{FF2B5EF4-FFF2-40B4-BE49-F238E27FC236}">
                <a16:creationId xmlns:a16="http://schemas.microsoft.com/office/drawing/2014/main" xmlns="" id="{9CDCA84A-2FE6-C541-9506-D6D5780422F8}"/>
              </a:ext>
            </a:extLst>
          </p:cNvPr>
          <p:cNvSpPr txBox="1"/>
          <p:nvPr/>
        </p:nvSpPr>
        <p:spPr>
          <a:xfrm>
            <a:off x="8559438" y="1772815"/>
            <a:ext cx="2700000" cy="4296583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s-ES" sz="1400" b="1" dirty="0">
              <a:solidFill>
                <a:schemeClr val="dk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37" name="Google Shape;1336;p37">
            <a:extLst>
              <a:ext uri="{FF2B5EF4-FFF2-40B4-BE49-F238E27FC236}">
                <a16:creationId xmlns:a16="http://schemas.microsoft.com/office/drawing/2014/main" xmlns="" id="{853CEEDD-5FB7-F543-A201-B52040734009}"/>
              </a:ext>
            </a:extLst>
          </p:cNvPr>
          <p:cNvSpPr txBox="1"/>
          <p:nvPr/>
        </p:nvSpPr>
        <p:spPr>
          <a:xfrm>
            <a:off x="4836160" y="1783998"/>
            <a:ext cx="2700000" cy="4296581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s-ES" sz="1400" b="1" dirty="0">
              <a:solidFill>
                <a:schemeClr val="dk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336;p37">
            <a:extLst>
              <a:ext uri="{FF2B5EF4-FFF2-40B4-BE49-F238E27FC236}">
                <a16:creationId xmlns:a16="http://schemas.microsoft.com/office/drawing/2014/main" xmlns="" id="{B5738CCF-1D51-3743-B906-5BF442E47B45}"/>
              </a:ext>
            </a:extLst>
          </p:cNvPr>
          <p:cNvSpPr txBox="1"/>
          <p:nvPr/>
        </p:nvSpPr>
        <p:spPr>
          <a:xfrm>
            <a:off x="1055440" y="1772816"/>
            <a:ext cx="2700000" cy="4296582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400" b="1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rPr>
              <a:t>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xmlns="" id="{D09B9686-C44B-9B43-B677-389975D1A515}"/>
              </a:ext>
            </a:extLst>
          </p:cNvPr>
          <p:cNvSpPr txBox="1"/>
          <p:nvPr/>
        </p:nvSpPr>
        <p:spPr>
          <a:xfrm>
            <a:off x="1824668" y="3732236"/>
            <a:ext cx="14630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O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bserva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xmlns="" id="{2904BBEC-C112-3640-8742-C05586099A56}"/>
              </a:ext>
            </a:extLst>
          </p:cNvPr>
          <p:cNvSpPr txBox="1"/>
          <p:nvPr/>
        </p:nvSpPr>
        <p:spPr>
          <a:xfrm>
            <a:off x="5478369" y="3732236"/>
            <a:ext cx="16987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D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istingue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xmlns="" id="{A767F348-1223-604A-B5C1-C5AA3C8FAF91}"/>
              </a:ext>
            </a:extLst>
          </p:cNvPr>
          <p:cNvSpPr txBox="1"/>
          <p:nvPr/>
        </p:nvSpPr>
        <p:spPr>
          <a:xfrm>
            <a:off x="9414602" y="3740737"/>
            <a:ext cx="14716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E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jecuta</a:t>
            </a:r>
          </a:p>
        </p:txBody>
      </p:sp>
      <p:sp>
        <p:nvSpPr>
          <p:cNvPr id="21" name="Título 30">
            <a:extLst>
              <a:ext uri="{FF2B5EF4-FFF2-40B4-BE49-F238E27FC236}">
                <a16:creationId xmlns:a16="http://schemas.microsoft.com/office/drawing/2014/main" xmlns="" id="{8A10F8F3-78DC-C24F-8E04-9D781E416BC7}"/>
              </a:ext>
            </a:extLst>
          </p:cNvPr>
          <p:cNvSpPr txBox="1">
            <a:spLocks/>
          </p:cNvSpPr>
          <p:nvPr/>
        </p:nvSpPr>
        <p:spPr>
          <a:xfrm>
            <a:off x="312745" y="301625"/>
            <a:ext cx="4397496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Medidas de control para evitar accidentes en el desplazamiento</a:t>
            </a:r>
          </a:p>
        </p:txBody>
      </p: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xmlns="" id="{D144330B-5499-8849-9F18-117B86F3A230}"/>
              </a:ext>
            </a:extLst>
          </p:cNvPr>
          <p:cNvCxnSpPr>
            <a:cxnSpLocks/>
          </p:cNvCxnSpPr>
          <p:nvPr/>
        </p:nvCxnSpPr>
        <p:spPr>
          <a:xfrm>
            <a:off x="407988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5" name="Google Shape;1341;p37">
            <a:extLst>
              <a:ext uri="{FF2B5EF4-FFF2-40B4-BE49-F238E27FC236}">
                <a16:creationId xmlns:a16="http://schemas.microsoft.com/office/drawing/2014/main" xmlns="" id="{0288B8F8-6358-0844-8B25-42117D57F247}"/>
              </a:ext>
            </a:extLst>
          </p:cNvPr>
          <p:cNvSpPr/>
          <p:nvPr/>
        </p:nvSpPr>
        <p:spPr>
          <a:xfrm>
            <a:off x="1689194" y="2182617"/>
            <a:ext cx="1408057" cy="1408057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xmlns="" id="{03F3433D-AAAD-584B-B02A-3E94B4B22FB1}"/>
              </a:ext>
            </a:extLst>
          </p:cNvPr>
          <p:cNvSpPr txBox="1"/>
          <p:nvPr/>
        </p:nvSpPr>
        <p:spPr>
          <a:xfrm>
            <a:off x="1677385" y="3948152"/>
            <a:ext cx="1464738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1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O</a:t>
            </a:r>
          </a:p>
        </p:txBody>
      </p:sp>
      <p:sp>
        <p:nvSpPr>
          <p:cNvPr id="39" name="Google Shape;1341;p37">
            <a:extLst>
              <a:ext uri="{FF2B5EF4-FFF2-40B4-BE49-F238E27FC236}">
                <a16:creationId xmlns:a16="http://schemas.microsoft.com/office/drawing/2014/main" xmlns="" id="{E20C4DCD-CB27-9C48-9876-9532A50A1DAA}"/>
              </a:ext>
            </a:extLst>
          </p:cNvPr>
          <p:cNvSpPr/>
          <p:nvPr/>
        </p:nvSpPr>
        <p:spPr>
          <a:xfrm>
            <a:off x="5447928" y="2204864"/>
            <a:ext cx="1408057" cy="1408057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40" name="Google Shape;1341;p37">
            <a:extLst>
              <a:ext uri="{FF2B5EF4-FFF2-40B4-BE49-F238E27FC236}">
                <a16:creationId xmlns:a16="http://schemas.microsoft.com/office/drawing/2014/main" xmlns="" id="{3C145455-DEAA-1643-9EFB-58B97350C00B}"/>
              </a:ext>
            </a:extLst>
          </p:cNvPr>
          <p:cNvSpPr/>
          <p:nvPr/>
        </p:nvSpPr>
        <p:spPr>
          <a:xfrm>
            <a:off x="9254888" y="2211371"/>
            <a:ext cx="1408057" cy="1408057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xmlns="" id="{9680A68A-9A4C-844C-A836-3D21F3AA3ECC}"/>
              </a:ext>
            </a:extLst>
          </p:cNvPr>
          <p:cNvSpPr txBox="1"/>
          <p:nvPr/>
        </p:nvSpPr>
        <p:spPr>
          <a:xfrm>
            <a:off x="5460520" y="3948152"/>
            <a:ext cx="1464738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1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D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xmlns="" id="{869596C9-B458-374F-8C00-6AB110245C44}"/>
              </a:ext>
            </a:extLst>
          </p:cNvPr>
          <p:cNvSpPr txBox="1"/>
          <p:nvPr/>
        </p:nvSpPr>
        <p:spPr>
          <a:xfrm>
            <a:off x="9198207" y="3948152"/>
            <a:ext cx="1464738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1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E</a:t>
            </a:r>
          </a:p>
        </p:txBody>
      </p:sp>
      <p:grpSp>
        <p:nvGrpSpPr>
          <p:cNvPr id="17" name="Google Shape;3272;p105">
            <a:extLst>
              <a:ext uri="{FF2B5EF4-FFF2-40B4-BE49-F238E27FC236}">
                <a16:creationId xmlns:a16="http://schemas.microsoft.com/office/drawing/2014/main" xmlns="" id="{6A6675D9-A97A-1943-829E-DE0086FB5A65}"/>
              </a:ext>
            </a:extLst>
          </p:cNvPr>
          <p:cNvGrpSpPr/>
          <p:nvPr/>
        </p:nvGrpSpPr>
        <p:grpSpPr>
          <a:xfrm>
            <a:off x="1880979" y="2562319"/>
            <a:ext cx="1041051" cy="650657"/>
            <a:chOff x="3965" y="3562"/>
            <a:chExt cx="520" cy="325"/>
          </a:xfrm>
          <a:solidFill>
            <a:srgbClr val="7DFF45"/>
          </a:solidFill>
        </p:grpSpPr>
        <p:sp>
          <p:nvSpPr>
            <p:cNvPr id="23" name="Google Shape;3273;p105">
              <a:extLst>
                <a:ext uri="{FF2B5EF4-FFF2-40B4-BE49-F238E27FC236}">
                  <a16:creationId xmlns:a16="http://schemas.microsoft.com/office/drawing/2014/main" xmlns="" id="{8852F408-A324-2D4E-996D-E141B51B722E}"/>
                </a:ext>
              </a:extLst>
            </p:cNvPr>
            <p:cNvSpPr/>
            <p:nvPr/>
          </p:nvSpPr>
          <p:spPr>
            <a:xfrm>
              <a:off x="3965" y="3562"/>
              <a:ext cx="520" cy="325"/>
            </a:xfrm>
            <a:custGeom>
              <a:avLst/>
              <a:gdLst/>
              <a:ahLst/>
              <a:cxnLst/>
              <a:rect l="l" t="t" r="r" b="b"/>
              <a:pathLst>
                <a:path w="847" h="536" extrusionOk="0">
                  <a:moveTo>
                    <a:pt x="423" y="504"/>
                  </a:moveTo>
                  <a:lnTo>
                    <a:pt x="423" y="504"/>
                  </a:lnTo>
                  <a:cubicBezTo>
                    <a:pt x="205" y="504"/>
                    <a:pt x="31" y="334"/>
                    <a:pt x="31" y="267"/>
                  </a:cubicBezTo>
                  <a:cubicBezTo>
                    <a:pt x="31" y="200"/>
                    <a:pt x="205" y="30"/>
                    <a:pt x="423" y="30"/>
                  </a:cubicBezTo>
                  <a:cubicBezTo>
                    <a:pt x="642" y="30"/>
                    <a:pt x="816" y="200"/>
                    <a:pt x="816" y="267"/>
                  </a:cubicBezTo>
                  <a:cubicBezTo>
                    <a:pt x="816" y="334"/>
                    <a:pt x="642" y="504"/>
                    <a:pt x="423" y="504"/>
                  </a:cubicBezTo>
                  <a:close/>
                  <a:moveTo>
                    <a:pt x="423" y="0"/>
                  </a:moveTo>
                  <a:lnTo>
                    <a:pt x="423" y="0"/>
                  </a:lnTo>
                  <a:cubicBezTo>
                    <a:pt x="187" y="0"/>
                    <a:pt x="0" y="191"/>
                    <a:pt x="0" y="267"/>
                  </a:cubicBezTo>
                  <a:cubicBezTo>
                    <a:pt x="0" y="343"/>
                    <a:pt x="187" y="536"/>
                    <a:pt x="423" y="536"/>
                  </a:cubicBezTo>
                  <a:cubicBezTo>
                    <a:pt x="659" y="536"/>
                    <a:pt x="847" y="343"/>
                    <a:pt x="847" y="267"/>
                  </a:cubicBezTo>
                  <a:cubicBezTo>
                    <a:pt x="847" y="191"/>
                    <a:pt x="659" y="0"/>
                    <a:pt x="423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3274;p105">
              <a:extLst>
                <a:ext uri="{FF2B5EF4-FFF2-40B4-BE49-F238E27FC236}">
                  <a16:creationId xmlns:a16="http://schemas.microsoft.com/office/drawing/2014/main" xmlns="" id="{BBE81E78-A25D-4F45-B40B-A3B21C2C9097}"/>
                </a:ext>
              </a:extLst>
            </p:cNvPr>
            <p:cNvSpPr/>
            <p:nvPr/>
          </p:nvSpPr>
          <p:spPr>
            <a:xfrm>
              <a:off x="4189" y="3689"/>
              <a:ext cx="72" cy="70"/>
            </a:xfrm>
            <a:custGeom>
              <a:avLst/>
              <a:gdLst/>
              <a:ahLst/>
              <a:cxnLst/>
              <a:rect l="l" t="t" r="r" b="b"/>
              <a:pathLst>
                <a:path w="117" h="116" extrusionOk="0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1" y="116"/>
                    <a:pt x="117" y="90"/>
                    <a:pt x="117" y="58"/>
                  </a:cubicBezTo>
                  <a:cubicBezTo>
                    <a:pt x="117" y="26"/>
                    <a:pt x="91" y="0"/>
                    <a:pt x="58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3275;p105">
              <a:extLst>
                <a:ext uri="{FF2B5EF4-FFF2-40B4-BE49-F238E27FC236}">
                  <a16:creationId xmlns:a16="http://schemas.microsoft.com/office/drawing/2014/main" xmlns="" id="{3C28E7FD-307E-304A-ADC2-6B0001166C0E}"/>
                </a:ext>
              </a:extLst>
            </p:cNvPr>
            <p:cNvSpPr/>
            <p:nvPr/>
          </p:nvSpPr>
          <p:spPr>
            <a:xfrm>
              <a:off x="4108" y="3608"/>
              <a:ext cx="234" cy="232"/>
            </a:xfrm>
            <a:custGeom>
              <a:avLst/>
              <a:gdLst/>
              <a:ahLst/>
              <a:cxnLst/>
              <a:rect l="l" t="t" r="r" b="b"/>
              <a:pathLst>
                <a:path w="381" h="381" extrusionOk="0">
                  <a:moveTo>
                    <a:pt x="190" y="350"/>
                  </a:moveTo>
                  <a:lnTo>
                    <a:pt x="190" y="350"/>
                  </a:lnTo>
                  <a:cubicBezTo>
                    <a:pt x="103" y="350"/>
                    <a:pt x="31" y="278"/>
                    <a:pt x="31" y="190"/>
                  </a:cubicBezTo>
                  <a:cubicBezTo>
                    <a:pt x="31" y="102"/>
                    <a:pt x="103" y="31"/>
                    <a:pt x="190" y="31"/>
                  </a:cubicBezTo>
                  <a:cubicBezTo>
                    <a:pt x="278" y="31"/>
                    <a:pt x="350" y="102"/>
                    <a:pt x="350" y="190"/>
                  </a:cubicBezTo>
                  <a:cubicBezTo>
                    <a:pt x="350" y="278"/>
                    <a:pt x="278" y="350"/>
                    <a:pt x="190" y="350"/>
                  </a:cubicBezTo>
                  <a:close/>
                  <a:moveTo>
                    <a:pt x="190" y="0"/>
                  </a:moveTo>
                  <a:lnTo>
                    <a:pt x="190" y="0"/>
                  </a:lnTo>
                  <a:cubicBezTo>
                    <a:pt x="85" y="0"/>
                    <a:pt x="0" y="85"/>
                    <a:pt x="0" y="190"/>
                  </a:cubicBezTo>
                  <a:cubicBezTo>
                    <a:pt x="0" y="295"/>
                    <a:pt x="85" y="381"/>
                    <a:pt x="190" y="381"/>
                  </a:cubicBezTo>
                  <a:cubicBezTo>
                    <a:pt x="296" y="381"/>
                    <a:pt x="381" y="295"/>
                    <a:pt x="381" y="190"/>
                  </a:cubicBezTo>
                  <a:cubicBezTo>
                    <a:pt x="381" y="85"/>
                    <a:pt x="296" y="0"/>
                    <a:pt x="190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6" name="Google Shape;4086;p113">
            <a:extLst>
              <a:ext uri="{FF2B5EF4-FFF2-40B4-BE49-F238E27FC236}">
                <a16:creationId xmlns:a16="http://schemas.microsoft.com/office/drawing/2014/main" xmlns="" id="{2BD77DA5-37CD-5A40-B222-66A06D564A64}"/>
              </a:ext>
            </a:extLst>
          </p:cNvPr>
          <p:cNvGrpSpPr/>
          <p:nvPr/>
        </p:nvGrpSpPr>
        <p:grpSpPr>
          <a:xfrm>
            <a:off x="5788612" y="2545817"/>
            <a:ext cx="740447" cy="739167"/>
            <a:chOff x="1091" y="2665"/>
            <a:chExt cx="422" cy="422"/>
          </a:xfrm>
          <a:solidFill>
            <a:srgbClr val="7DFF45"/>
          </a:solidFill>
        </p:grpSpPr>
        <p:sp>
          <p:nvSpPr>
            <p:cNvPr id="27" name="Google Shape;4087;p113">
              <a:extLst>
                <a:ext uri="{FF2B5EF4-FFF2-40B4-BE49-F238E27FC236}">
                  <a16:creationId xmlns:a16="http://schemas.microsoft.com/office/drawing/2014/main" xmlns="" id="{1FC5E762-B31B-E84F-A80B-AF1040CE177B}"/>
                </a:ext>
              </a:extLst>
            </p:cNvPr>
            <p:cNvSpPr/>
            <p:nvPr/>
          </p:nvSpPr>
          <p:spPr>
            <a:xfrm>
              <a:off x="1091" y="2665"/>
              <a:ext cx="422" cy="422"/>
            </a:xfrm>
            <a:custGeom>
              <a:avLst/>
              <a:gdLst/>
              <a:ahLst/>
              <a:cxnLst/>
              <a:rect l="l" t="t" r="r" b="b"/>
              <a:pathLst>
                <a:path w="691" h="691" extrusionOk="0">
                  <a:moveTo>
                    <a:pt x="675" y="235"/>
                  </a:moveTo>
                  <a:lnTo>
                    <a:pt x="675" y="235"/>
                  </a:lnTo>
                  <a:cubicBezTo>
                    <a:pt x="667" y="235"/>
                    <a:pt x="660" y="242"/>
                    <a:pt x="660" y="250"/>
                  </a:cubicBezTo>
                  <a:lnTo>
                    <a:pt x="660" y="596"/>
                  </a:lnTo>
                  <a:cubicBezTo>
                    <a:pt x="660" y="631"/>
                    <a:pt x="631" y="659"/>
                    <a:pt x="597" y="659"/>
                  </a:cubicBezTo>
                  <a:lnTo>
                    <a:pt x="94" y="659"/>
                  </a:lnTo>
                  <a:cubicBezTo>
                    <a:pt x="59" y="659"/>
                    <a:pt x="31" y="631"/>
                    <a:pt x="31" y="596"/>
                  </a:cubicBezTo>
                  <a:lnTo>
                    <a:pt x="31" y="93"/>
                  </a:lnTo>
                  <a:cubicBezTo>
                    <a:pt x="31" y="59"/>
                    <a:pt x="59" y="30"/>
                    <a:pt x="94" y="30"/>
                  </a:cubicBezTo>
                  <a:lnTo>
                    <a:pt x="440" y="30"/>
                  </a:lnTo>
                  <a:cubicBezTo>
                    <a:pt x="448" y="30"/>
                    <a:pt x="455" y="23"/>
                    <a:pt x="455" y="15"/>
                  </a:cubicBezTo>
                  <a:cubicBezTo>
                    <a:pt x="455" y="6"/>
                    <a:pt x="448" y="0"/>
                    <a:pt x="440" y="0"/>
                  </a:cubicBezTo>
                  <a:lnTo>
                    <a:pt x="94" y="0"/>
                  </a:lnTo>
                  <a:cubicBezTo>
                    <a:pt x="42" y="0"/>
                    <a:pt x="0" y="41"/>
                    <a:pt x="0" y="93"/>
                  </a:cubicBezTo>
                  <a:lnTo>
                    <a:pt x="0" y="596"/>
                  </a:lnTo>
                  <a:cubicBezTo>
                    <a:pt x="0" y="648"/>
                    <a:pt x="42" y="691"/>
                    <a:pt x="94" y="691"/>
                  </a:cubicBezTo>
                  <a:lnTo>
                    <a:pt x="597" y="691"/>
                  </a:lnTo>
                  <a:cubicBezTo>
                    <a:pt x="649" y="691"/>
                    <a:pt x="691" y="648"/>
                    <a:pt x="691" y="596"/>
                  </a:cubicBezTo>
                  <a:lnTo>
                    <a:pt x="691" y="250"/>
                  </a:lnTo>
                  <a:cubicBezTo>
                    <a:pt x="691" y="242"/>
                    <a:pt x="684" y="235"/>
                    <a:pt x="675" y="2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4088;p113">
              <a:extLst>
                <a:ext uri="{FF2B5EF4-FFF2-40B4-BE49-F238E27FC236}">
                  <a16:creationId xmlns:a16="http://schemas.microsoft.com/office/drawing/2014/main" xmlns="" id="{0A89D8D8-E14D-5D40-B9A8-1B7A495D58E0}"/>
                </a:ext>
              </a:extLst>
            </p:cNvPr>
            <p:cNvSpPr/>
            <p:nvPr/>
          </p:nvSpPr>
          <p:spPr>
            <a:xfrm>
              <a:off x="1196" y="2665"/>
              <a:ext cx="317" cy="316"/>
            </a:xfrm>
            <a:custGeom>
              <a:avLst/>
              <a:gdLst/>
              <a:ahLst/>
              <a:cxnLst/>
              <a:rect l="l" t="t" r="r" b="b"/>
              <a:pathLst>
                <a:path w="519" h="518" extrusionOk="0">
                  <a:moveTo>
                    <a:pt x="474" y="111"/>
                  </a:moveTo>
                  <a:lnTo>
                    <a:pt x="474" y="111"/>
                  </a:lnTo>
                  <a:lnTo>
                    <a:pt x="454" y="131"/>
                  </a:lnTo>
                  <a:lnTo>
                    <a:pt x="387" y="64"/>
                  </a:lnTo>
                  <a:lnTo>
                    <a:pt x="407" y="44"/>
                  </a:lnTo>
                  <a:cubicBezTo>
                    <a:pt x="416" y="36"/>
                    <a:pt x="427" y="30"/>
                    <a:pt x="440" y="30"/>
                  </a:cubicBezTo>
                  <a:cubicBezTo>
                    <a:pt x="467" y="30"/>
                    <a:pt x="488" y="51"/>
                    <a:pt x="488" y="77"/>
                  </a:cubicBezTo>
                  <a:cubicBezTo>
                    <a:pt x="488" y="91"/>
                    <a:pt x="482" y="102"/>
                    <a:pt x="474" y="111"/>
                  </a:cubicBezTo>
                  <a:close/>
                  <a:moveTo>
                    <a:pt x="142" y="443"/>
                  </a:moveTo>
                  <a:lnTo>
                    <a:pt x="142" y="443"/>
                  </a:lnTo>
                  <a:lnTo>
                    <a:pt x="142" y="376"/>
                  </a:lnTo>
                  <a:lnTo>
                    <a:pt x="75" y="376"/>
                  </a:lnTo>
                  <a:lnTo>
                    <a:pt x="365" y="87"/>
                  </a:lnTo>
                  <a:lnTo>
                    <a:pt x="431" y="153"/>
                  </a:lnTo>
                  <a:lnTo>
                    <a:pt x="142" y="443"/>
                  </a:lnTo>
                  <a:close/>
                  <a:moveTo>
                    <a:pt x="110" y="466"/>
                  </a:moveTo>
                  <a:lnTo>
                    <a:pt x="110" y="466"/>
                  </a:lnTo>
                  <a:lnTo>
                    <a:pt x="40" y="478"/>
                  </a:lnTo>
                  <a:lnTo>
                    <a:pt x="52" y="408"/>
                  </a:lnTo>
                  <a:lnTo>
                    <a:pt x="110" y="408"/>
                  </a:lnTo>
                  <a:lnTo>
                    <a:pt x="110" y="466"/>
                  </a:lnTo>
                  <a:close/>
                  <a:moveTo>
                    <a:pt x="440" y="0"/>
                  </a:moveTo>
                  <a:lnTo>
                    <a:pt x="440" y="0"/>
                  </a:lnTo>
                  <a:cubicBezTo>
                    <a:pt x="419" y="0"/>
                    <a:pt x="399" y="8"/>
                    <a:pt x="385" y="22"/>
                  </a:cubicBezTo>
                  <a:lnTo>
                    <a:pt x="23" y="383"/>
                  </a:lnTo>
                  <a:lnTo>
                    <a:pt x="0" y="518"/>
                  </a:lnTo>
                  <a:lnTo>
                    <a:pt x="135" y="495"/>
                  </a:lnTo>
                  <a:lnTo>
                    <a:pt x="496" y="133"/>
                  </a:lnTo>
                  <a:cubicBezTo>
                    <a:pt x="510" y="119"/>
                    <a:pt x="519" y="99"/>
                    <a:pt x="519" y="77"/>
                  </a:cubicBezTo>
                  <a:cubicBezTo>
                    <a:pt x="519" y="34"/>
                    <a:pt x="484" y="0"/>
                    <a:pt x="4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9" name="Google Shape;3830;p111">
            <a:extLst>
              <a:ext uri="{FF2B5EF4-FFF2-40B4-BE49-F238E27FC236}">
                <a16:creationId xmlns:a16="http://schemas.microsoft.com/office/drawing/2014/main" xmlns="" id="{00524DAC-A963-8A43-A818-2CB330CA6845}"/>
              </a:ext>
            </a:extLst>
          </p:cNvPr>
          <p:cNvGrpSpPr/>
          <p:nvPr/>
        </p:nvGrpSpPr>
        <p:grpSpPr>
          <a:xfrm>
            <a:off x="9734126" y="2492375"/>
            <a:ext cx="522540" cy="881249"/>
            <a:chOff x="2020" y="3058"/>
            <a:chExt cx="303" cy="511"/>
          </a:xfrm>
          <a:noFill/>
        </p:grpSpPr>
        <p:sp>
          <p:nvSpPr>
            <p:cNvPr id="30" name="Google Shape;3831;p111">
              <a:extLst>
                <a:ext uri="{FF2B5EF4-FFF2-40B4-BE49-F238E27FC236}">
                  <a16:creationId xmlns:a16="http://schemas.microsoft.com/office/drawing/2014/main" xmlns="" id="{153EDFD5-B213-FB44-B6DA-673347CDB24A}"/>
                </a:ext>
              </a:extLst>
            </p:cNvPr>
            <p:cNvSpPr/>
            <p:nvPr/>
          </p:nvSpPr>
          <p:spPr>
            <a:xfrm>
              <a:off x="2160" y="3058"/>
              <a:ext cx="92" cy="93"/>
            </a:xfrm>
            <a:custGeom>
              <a:avLst/>
              <a:gdLst/>
              <a:ahLst/>
              <a:cxnLst/>
              <a:rect l="l" t="t" r="r" b="b"/>
              <a:pathLst>
                <a:path w="151" h="151" extrusionOk="0">
                  <a:moveTo>
                    <a:pt x="75" y="151"/>
                  </a:moveTo>
                  <a:lnTo>
                    <a:pt x="75" y="151"/>
                  </a:lnTo>
                  <a:cubicBezTo>
                    <a:pt x="117" y="151"/>
                    <a:pt x="151" y="117"/>
                    <a:pt x="151" y="76"/>
                  </a:cubicBezTo>
                  <a:cubicBezTo>
                    <a:pt x="151" y="34"/>
                    <a:pt x="117" y="0"/>
                    <a:pt x="75" y="0"/>
                  </a:cubicBezTo>
                  <a:cubicBezTo>
                    <a:pt x="34" y="0"/>
                    <a:pt x="0" y="34"/>
                    <a:pt x="0" y="76"/>
                  </a:cubicBezTo>
                  <a:cubicBezTo>
                    <a:pt x="0" y="117"/>
                    <a:pt x="34" y="151"/>
                    <a:pt x="75" y="151"/>
                  </a:cubicBezTo>
                  <a:lnTo>
                    <a:pt x="75" y="151"/>
                  </a:lnTo>
                  <a:close/>
                </a:path>
              </a:pathLst>
            </a:custGeom>
            <a:grpFill/>
            <a:ln w="38100" cap="flat" cmpd="sng">
              <a:solidFill>
                <a:srgbClr val="7DFF4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3832;p111">
              <a:extLst>
                <a:ext uri="{FF2B5EF4-FFF2-40B4-BE49-F238E27FC236}">
                  <a16:creationId xmlns:a16="http://schemas.microsoft.com/office/drawing/2014/main" xmlns="" id="{1AB90575-FF5F-6F43-88E7-561BC38EA064}"/>
                </a:ext>
              </a:extLst>
            </p:cNvPr>
            <p:cNvSpPr/>
            <p:nvPr/>
          </p:nvSpPr>
          <p:spPr>
            <a:xfrm>
              <a:off x="2020" y="3168"/>
              <a:ext cx="303" cy="401"/>
            </a:xfrm>
            <a:custGeom>
              <a:avLst/>
              <a:gdLst/>
              <a:ahLst/>
              <a:cxnLst/>
              <a:rect l="l" t="t" r="r" b="b"/>
              <a:pathLst>
                <a:path w="493" h="651" extrusionOk="0">
                  <a:moveTo>
                    <a:pt x="155" y="101"/>
                  </a:moveTo>
                  <a:lnTo>
                    <a:pt x="155" y="101"/>
                  </a:lnTo>
                  <a:lnTo>
                    <a:pt x="7" y="579"/>
                  </a:lnTo>
                  <a:cubicBezTo>
                    <a:pt x="1" y="601"/>
                    <a:pt x="15" y="622"/>
                    <a:pt x="37" y="625"/>
                  </a:cubicBezTo>
                  <a:cubicBezTo>
                    <a:pt x="59" y="627"/>
                    <a:pt x="79" y="614"/>
                    <a:pt x="85" y="594"/>
                  </a:cubicBezTo>
                  <a:lnTo>
                    <a:pt x="162" y="365"/>
                  </a:lnTo>
                  <a:cubicBezTo>
                    <a:pt x="166" y="352"/>
                    <a:pt x="184" y="348"/>
                    <a:pt x="193" y="359"/>
                  </a:cubicBezTo>
                  <a:lnTo>
                    <a:pt x="240" y="413"/>
                  </a:lnTo>
                  <a:cubicBezTo>
                    <a:pt x="243" y="417"/>
                    <a:pt x="244" y="422"/>
                    <a:pt x="244" y="427"/>
                  </a:cubicBezTo>
                  <a:lnTo>
                    <a:pt x="224" y="611"/>
                  </a:lnTo>
                  <a:cubicBezTo>
                    <a:pt x="222" y="629"/>
                    <a:pt x="236" y="646"/>
                    <a:pt x="254" y="648"/>
                  </a:cubicBezTo>
                  <a:cubicBezTo>
                    <a:pt x="277" y="651"/>
                    <a:pt x="298" y="634"/>
                    <a:pt x="300" y="612"/>
                  </a:cubicBezTo>
                  <a:lnTo>
                    <a:pt x="325" y="383"/>
                  </a:lnTo>
                  <a:cubicBezTo>
                    <a:pt x="326" y="374"/>
                    <a:pt x="323" y="365"/>
                    <a:pt x="317" y="358"/>
                  </a:cubicBezTo>
                  <a:lnTo>
                    <a:pt x="264" y="291"/>
                  </a:lnTo>
                  <a:cubicBezTo>
                    <a:pt x="260" y="286"/>
                    <a:pt x="259" y="280"/>
                    <a:pt x="260" y="274"/>
                  </a:cubicBezTo>
                  <a:lnTo>
                    <a:pt x="282" y="207"/>
                  </a:lnTo>
                  <a:cubicBezTo>
                    <a:pt x="286" y="193"/>
                    <a:pt x="303" y="190"/>
                    <a:pt x="313" y="201"/>
                  </a:cubicBezTo>
                  <a:cubicBezTo>
                    <a:pt x="346" y="241"/>
                    <a:pt x="392" y="271"/>
                    <a:pt x="444" y="285"/>
                  </a:cubicBezTo>
                  <a:cubicBezTo>
                    <a:pt x="466" y="291"/>
                    <a:pt x="488" y="276"/>
                    <a:pt x="491" y="254"/>
                  </a:cubicBezTo>
                  <a:lnTo>
                    <a:pt x="491" y="251"/>
                  </a:lnTo>
                  <a:cubicBezTo>
                    <a:pt x="493" y="233"/>
                    <a:pt x="482" y="217"/>
                    <a:pt x="464" y="212"/>
                  </a:cubicBezTo>
                  <a:cubicBezTo>
                    <a:pt x="409" y="197"/>
                    <a:pt x="365" y="157"/>
                    <a:pt x="341" y="108"/>
                  </a:cubicBezTo>
                  <a:lnTo>
                    <a:pt x="312" y="44"/>
                  </a:lnTo>
                  <a:cubicBezTo>
                    <a:pt x="301" y="20"/>
                    <a:pt x="278" y="4"/>
                    <a:pt x="252" y="1"/>
                  </a:cubicBezTo>
                  <a:cubicBezTo>
                    <a:pt x="242" y="0"/>
                    <a:pt x="233" y="1"/>
                    <a:pt x="223" y="4"/>
                  </a:cubicBezTo>
                  <a:lnTo>
                    <a:pt x="28" y="60"/>
                  </a:lnTo>
                  <a:cubicBezTo>
                    <a:pt x="21" y="62"/>
                    <a:pt x="16" y="68"/>
                    <a:pt x="16" y="75"/>
                  </a:cubicBezTo>
                  <a:lnTo>
                    <a:pt x="2" y="205"/>
                  </a:lnTo>
                  <a:cubicBezTo>
                    <a:pt x="0" y="224"/>
                    <a:pt x="14" y="242"/>
                    <a:pt x="33" y="244"/>
                  </a:cubicBezTo>
                  <a:lnTo>
                    <a:pt x="37" y="244"/>
                  </a:lnTo>
                  <a:cubicBezTo>
                    <a:pt x="57" y="247"/>
                    <a:pt x="75" y="232"/>
                    <a:pt x="77" y="213"/>
                  </a:cubicBezTo>
                  <a:lnTo>
                    <a:pt x="85" y="134"/>
                  </a:lnTo>
                  <a:cubicBezTo>
                    <a:pt x="86" y="127"/>
                    <a:pt x="91" y="121"/>
                    <a:pt x="98" y="119"/>
                  </a:cubicBezTo>
                  <a:lnTo>
                    <a:pt x="155" y="101"/>
                  </a:lnTo>
                  <a:lnTo>
                    <a:pt x="155" y="101"/>
                  </a:lnTo>
                  <a:close/>
                </a:path>
              </a:pathLst>
            </a:custGeom>
            <a:grpFill/>
            <a:ln w="38100" cap="rnd" cmpd="sng">
              <a:solidFill>
                <a:srgbClr val="7DFF4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32" name="Imagen 31">
            <a:extLst>
              <a:ext uri="{FF2B5EF4-FFF2-40B4-BE49-F238E27FC236}">
                <a16:creationId xmlns:a16="http://schemas.microsoft.com/office/drawing/2014/main" xmlns="" id="{4E990343-CC34-BA42-AD67-4E80EE36FA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846843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1336;p37">
            <a:extLst>
              <a:ext uri="{FF2B5EF4-FFF2-40B4-BE49-F238E27FC236}">
                <a16:creationId xmlns:a16="http://schemas.microsoft.com/office/drawing/2014/main" xmlns="" id="{001D2004-893E-5C4E-9CF7-20319E040222}"/>
              </a:ext>
            </a:extLst>
          </p:cNvPr>
          <p:cNvSpPr txBox="1"/>
          <p:nvPr/>
        </p:nvSpPr>
        <p:spPr>
          <a:xfrm>
            <a:off x="8559438" y="1772815"/>
            <a:ext cx="2700000" cy="4296583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s-ES" sz="1400" b="1" dirty="0">
              <a:solidFill>
                <a:schemeClr val="dk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55" name="Google Shape;1336;p37">
            <a:extLst>
              <a:ext uri="{FF2B5EF4-FFF2-40B4-BE49-F238E27FC236}">
                <a16:creationId xmlns:a16="http://schemas.microsoft.com/office/drawing/2014/main" xmlns="" id="{58137D16-B72A-314A-923A-82DAE49392CB}"/>
              </a:ext>
            </a:extLst>
          </p:cNvPr>
          <p:cNvSpPr txBox="1"/>
          <p:nvPr/>
        </p:nvSpPr>
        <p:spPr>
          <a:xfrm>
            <a:off x="4836160" y="1783998"/>
            <a:ext cx="2700000" cy="4296581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s-ES" sz="1400" b="1" dirty="0">
              <a:solidFill>
                <a:schemeClr val="dk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54" name="Google Shape;1336;p37">
            <a:extLst>
              <a:ext uri="{FF2B5EF4-FFF2-40B4-BE49-F238E27FC236}">
                <a16:creationId xmlns:a16="http://schemas.microsoft.com/office/drawing/2014/main" xmlns="" id="{1828AA43-9A17-9A41-B7FB-9FD587EF7695}"/>
              </a:ext>
            </a:extLst>
          </p:cNvPr>
          <p:cNvSpPr txBox="1"/>
          <p:nvPr/>
        </p:nvSpPr>
        <p:spPr>
          <a:xfrm>
            <a:off x="1055440" y="1772816"/>
            <a:ext cx="2700000" cy="4296582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400" b="1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rPr>
              <a:t>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xmlns="" id="{D09B9686-C44B-9B43-B677-389975D1A515}"/>
              </a:ext>
            </a:extLst>
          </p:cNvPr>
          <p:cNvSpPr txBox="1"/>
          <p:nvPr/>
        </p:nvSpPr>
        <p:spPr>
          <a:xfrm>
            <a:off x="1747230" y="3585838"/>
            <a:ext cx="14630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O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bserva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xmlns="" id="{2904BBEC-C112-3640-8742-C05586099A56}"/>
              </a:ext>
            </a:extLst>
          </p:cNvPr>
          <p:cNvSpPr txBox="1"/>
          <p:nvPr/>
        </p:nvSpPr>
        <p:spPr>
          <a:xfrm>
            <a:off x="5503776" y="3585838"/>
            <a:ext cx="16987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D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istingue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xmlns="" id="{A767F348-1223-604A-B5C1-C5AA3C8FAF91}"/>
              </a:ext>
            </a:extLst>
          </p:cNvPr>
          <p:cNvSpPr txBox="1"/>
          <p:nvPr/>
        </p:nvSpPr>
        <p:spPr>
          <a:xfrm>
            <a:off x="9408368" y="3585838"/>
            <a:ext cx="14716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E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jecuta</a:t>
            </a:r>
          </a:p>
        </p:txBody>
      </p:sp>
      <p:sp>
        <p:nvSpPr>
          <p:cNvPr id="21" name="Título 30">
            <a:extLst>
              <a:ext uri="{FF2B5EF4-FFF2-40B4-BE49-F238E27FC236}">
                <a16:creationId xmlns:a16="http://schemas.microsoft.com/office/drawing/2014/main" xmlns="" id="{8A10F8F3-78DC-C24F-8E04-9D781E416BC7}"/>
              </a:ext>
            </a:extLst>
          </p:cNvPr>
          <p:cNvSpPr txBox="1">
            <a:spLocks/>
          </p:cNvSpPr>
          <p:nvPr/>
        </p:nvSpPr>
        <p:spPr>
          <a:xfrm>
            <a:off x="330352" y="423088"/>
            <a:ext cx="4397496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000" dirty="0">
              <a:solidFill>
                <a:srgbClr val="15C045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xmlns="" id="{D144330B-5499-8849-9F18-117B86F3A230}"/>
              </a:ext>
            </a:extLst>
          </p:cNvPr>
          <p:cNvCxnSpPr>
            <a:cxnSpLocks/>
          </p:cNvCxnSpPr>
          <p:nvPr/>
        </p:nvCxnSpPr>
        <p:spPr>
          <a:xfrm>
            <a:off x="407988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6" name="Google Shape;1169;p31">
            <a:extLst>
              <a:ext uri="{FF2B5EF4-FFF2-40B4-BE49-F238E27FC236}">
                <a16:creationId xmlns:a16="http://schemas.microsoft.com/office/drawing/2014/main" xmlns="" id="{E2C5A6B6-594B-324F-920F-AA0EC1720643}"/>
              </a:ext>
            </a:extLst>
          </p:cNvPr>
          <p:cNvCxnSpPr>
            <a:cxnSpLocks/>
          </p:cNvCxnSpPr>
          <p:nvPr/>
        </p:nvCxnSpPr>
        <p:spPr>
          <a:xfrm>
            <a:off x="3755440" y="3699462"/>
            <a:ext cx="1044416" cy="0"/>
          </a:xfrm>
          <a:prstGeom prst="straightConnector1">
            <a:avLst/>
          </a:prstGeom>
          <a:noFill/>
          <a:ln w="25400" cap="flat" cmpd="sng">
            <a:solidFill>
              <a:srgbClr val="15C045"/>
            </a:solidFill>
            <a:prstDash val="solid"/>
            <a:miter lim="400000"/>
            <a:headEnd type="none" w="sm" len="sm"/>
            <a:tailEnd type="triangle" w="med" len="med"/>
          </a:ln>
        </p:spPr>
      </p:cxnSp>
      <p:cxnSp>
        <p:nvCxnSpPr>
          <p:cNvPr id="41" name="Google Shape;1169;p31">
            <a:extLst>
              <a:ext uri="{FF2B5EF4-FFF2-40B4-BE49-F238E27FC236}">
                <a16:creationId xmlns:a16="http://schemas.microsoft.com/office/drawing/2014/main" xmlns="" id="{51200EDC-5662-F846-9442-734A05FCE424}"/>
              </a:ext>
            </a:extLst>
          </p:cNvPr>
          <p:cNvCxnSpPr>
            <a:cxnSpLocks/>
          </p:cNvCxnSpPr>
          <p:nvPr/>
        </p:nvCxnSpPr>
        <p:spPr>
          <a:xfrm>
            <a:off x="7499856" y="3699462"/>
            <a:ext cx="1044416" cy="0"/>
          </a:xfrm>
          <a:prstGeom prst="straightConnector1">
            <a:avLst/>
          </a:prstGeom>
          <a:noFill/>
          <a:ln w="25400" cap="flat" cmpd="sng">
            <a:solidFill>
              <a:srgbClr val="15C045"/>
            </a:solidFill>
            <a:prstDash val="solid"/>
            <a:miter lim="400000"/>
            <a:headEnd type="none" w="sm" len="sm"/>
            <a:tailEnd type="triangle" w="med" len="med"/>
          </a:ln>
        </p:spPr>
      </p:cxnSp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7B9EFB00-3919-B64A-A256-D7766A850DA9}"/>
              </a:ext>
            </a:extLst>
          </p:cNvPr>
          <p:cNvSpPr/>
          <p:nvPr/>
        </p:nvSpPr>
        <p:spPr>
          <a:xfrm>
            <a:off x="1283122" y="4414581"/>
            <a:ext cx="2169023" cy="1426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89"/>
              </a:lnSpc>
            </a:pPr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¿Qué me puede hacer daño</a:t>
            </a:r>
            <a:r>
              <a:rPr lang="es-CL" sz="2000" b="1" dirty="0" smtClean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?</a:t>
            </a:r>
          </a:p>
          <a:p>
            <a:pPr algn="ctr">
              <a:lnSpc>
                <a:spcPts val="2589"/>
              </a:lnSpc>
            </a:pPr>
            <a:endParaRPr lang="es-MX" sz="2000" b="1" dirty="0">
              <a:solidFill>
                <a:srgbClr val="15C045"/>
              </a:solidFill>
              <a:latin typeface="ACHS Nueva Sans" pitchFamily="2" charset="0"/>
              <a:cs typeface="Arial" panose="020B0604020202020204" pitchFamily="34" charset="0"/>
            </a:endParaRPr>
          </a:p>
          <a:p>
            <a:pPr algn="ctr">
              <a:lnSpc>
                <a:spcPts val="2589"/>
              </a:lnSpc>
            </a:pPr>
            <a:r>
              <a:rPr lang="es-MX" sz="2000" b="1" dirty="0" smtClean="0">
                <a:solidFill>
                  <a:srgbClr val="004C15"/>
                </a:solidFill>
                <a:latin typeface="ACHS Nueva Sans" pitchFamily="2" charset="0"/>
                <a:cs typeface="Arial" panose="020B0604020202020204" pitchFamily="34" charset="0"/>
              </a:rPr>
              <a:t>PELIGRO</a:t>
            </a:r>
            <a:endParaRPr lang="es-CL" sz="2000" b="1" dirty="0">
              <a:solidFill>
                <a:srgbClr val="004C15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512D81A2-5E8A-DD45-BBA5-BF3BDC468E2E}"/>
              </a:ext>
            </a:extLst>
          </p:cNvPr>
          <p:cNvSpPr/>
          <p:nvPr/>
        </p:nvSpPr>
        <p:spPr>
          <a:xfrm>
            <a:off x="5076969" y="4381389"/>
            <a:ext cx="1955452" cy="1426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89"/>
              </a:lnSpc>
            </a:pPr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¿Qué me puede pasar</a:t>
            </a:r>
            <a:r>
              <a:rPr lang="es-CL" sz="2000" b="1" dirty="0" smtClean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?</a:t>
            </a:r>
          </a:p>
          <a:p>
            <a:pPr algn="ctr">
              <a:lnSpc>
                <a:spcPts val="2589"/>
              </a:lnSpc>
            </a:pPr>
            <a:endParaRPr lang="es-MX" sz="2000" b="1" dirty="0">
              <a:solidFill>
                <a:srgbClr val="15C045"/>
              </a:solidFill>
              <a:latin typeface="ACHS Nueva Sans" pitchFamily="2" charset="0"/>
              <a:cs typeface="Arial" panose="020B0604020202020204" pitchFamily="34" charset="0"/>
            </a:endParaRPr>
          </a:p>
          <a:p>
            <a:pPr algn="ctr">
              <a:lnSpc>
                <a:spcPts val="2589"/>
              </a:lnSpc>
            </a:pPr>
            <a:r>
              <a:rPr lang="es-MX" sz="2000" b="1" dirty="0" smtClean="0">
                <a:solidFill>
                  <a:srgbClr val="004C15"/>
                </a:solidFill>
                <a:latin typeface="ACHS Nueva Sans" pitchFamily="2" charset="0"/>
                <a:cs typeface="Arial" panose="020B0604020202020204" pitchFamily="34" charset="0"/>
              </a:rPr>
              <a:t>INCIDENTE</a:t>
            </a:r>
            <a:endParaRPr lang="es-CL" sz="2000" b="1" dirty="0">
              <a:solidFill>
                <a:srgbClr val="004C15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830AF526-A02F-564F-A315-05C41D53F9CE}"/>
              </a:ext>
            </a:extLst>
          </p:cNvPr>
          <p:cNvSpPr/>
          <p:nvPr/>
        </p:nvSpPr>
        <p:spPr>
          <a:xfrm>
            <a:off x="8855605" y="4548100"/>
            <a:ext cx="2208947" cy="1426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589"/>
              </a:lnSpc>
            </a:pPr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¿Cómo lo evito</a:t>
            </a:r>
            <a:r>
              <a:rPr lang="es-CL" sz="2000" b="1" dirty="0" smtClean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?</a:t>
            </a:r>
          </a:p>
          <a:p>
            <a:pPr>
              <a:lnSpc>
                <a:spcPts val="2589"/>
              </a:lnSpc>
            </a:pPr>
            <a:endParaRPr lang="es-MX" sz="2000" b="1" dirty="0">
              <a:solidFill>
                <a:srgbClr val="15C045"/>
              </a:solidFill>
              <a:latin typeface="ACHS Nueva Sans" pitchFamily="2" charset="0"/>
              <a:cs typeface="Arial" panose="020B0604020202020204" pitchFamily="34" charset="0"/>
            </a:endParaRPr>
          </a:p>
          <a:p>
            <a:pPr>
              <a:lnSpc>
                <a:spcPts val="2589"/>
              </a:lnSpc>
            </a:pPr>
            <a:r>
              <a:rPr lang="es-MX" sz="2000" b="1" dirty="0" smtClean="0">
                <a:solidFill>
                  <a:srgbClr val="004C15"/>
                </a:solidFill>
                <a:latin typeface="ACHS Nueva Sans" pitchFamily="2" charset="0"/>
                <a:cs typeface="Arial" panose="020B0604020202020204" pitchFamily="34" charset="0"/>
              </a:rPr>
              <a:t>MEDIDA DE CONTROL</a:t>
            </a:r>
            <a:endParaRPr lang="es-CL" sz="2000" b="1" dirty="0">
              <a:solidFill>
                <a:srgbClr val="004C15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2B3EF91B-82BF-BD46-BD54-5DDF7A47CB5D}"/>
              </a:ext>
            </a:extLst>
          </p:cNvPr>
          <p:cNvSpPr/>
          <p:nvPr/>
        </p:nvSpPr>
        <p:spPr>
          <a:xfrm>
            <a:off x="246667" y="301517"/>
            <a:ext cx="15440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s-ES" sz="2000" dirty="0">
                <a:solidFill>
                  <a:srgbClr val="15C045"/>
                </a:solidFill>
                <a:latin typeface="ACHS Nueva Sans" pitchFamily="2" charset="0"/>
              </a:rPr>
              <a:t>Pregúntate</a:t>
            </a:r>
            <a:endParaRPr lang="es-CL" sz="2000" dirty="0">
              <a:solidFill>
                <a:srgbClr val="15C045"/>
              </a:solidFill>
              <a:latin typeface="ACHS Nueva Sans" pitchFamily="2" charset="0"/>
            </a:endParaRPr>
          </a:p>
        </p:txBody>
      </p:sp>
      <p:pic>
        <p:nvPicPr>
          <p:cNvPr id="42" name="Imagen 41">
            <a:extLst>
              <a:ext uri="{FF2B5EF4-FFF2-40B4-BE49-F238E27FC236}">
                <a16:creationId xmlns:a16="http://schemas.microsoft.com/office/drawing/2014/main" xmlns="" id="{4353E005-BBAD-104D-A343-8573E1193CE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sp>
        <p:nvSpPr>
          <p:cNvPr id="37" name="Google Shape;1341;p37">
            <a:extLst>
              <a:ext uri="{FF2B5EF4-FFF2-40B4-BE49-F238E27FC236}">
                <a16:creationId xmlns:a16="http://schemas.microsoft.com/office/drawing/2014/main" xmlns="" id="{09CA52EB-4200-984A-895C-DD89F3E37868}"/>
              </a:ext>
            </a:extLst>
          </p:cNvPr>
          <p:cNvSpPr/>
          <p:nvPr/>
        </p:nvSpPr>
        <p:spPr>
          <a:xfrm>
            <a:off x="1689194" y="2182617"/>
            <a:ext cx="1408057" cy="1408057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38" name="Google Shape;3272;p105">
            <a:extLst>
              <a:ext uri="{FF2B5EF4-FFF2-40B4-BE49-F238E27FC236}">
                <a16:creationId xmlns:a16="http://schemas.microsoft.com/office/drawing/2014/main" xmlns="" id="{8D20FB3A-C414-7649-AD62-771DDD99A1AA}"/>
              </a:ext>
            </a:extLst>
          </p:cNvPr>
          <p:cNvGrpSpPr/>
          <p:nvPr/>
        </p:nvGrpSpPr>
        <p:grpSpPr>
          <a:xfrm>
            <a:off x="1880979" y="2562319"/>
            <a:ext cx="1041051" cy="650657"/>
            <a:chOff x="3965" y="3562"/>
            <a:chExt cx="520" cy="325"/>
          </a:xfrm>
          <a:solidFill>
            <a:srgbClr val="7DFF45"/>
          </a:solidFill>
        </p:grpSpPr>
        <p:sp>
          <p:nvSpPr>
            <p:cNvPr id="43" name="Google Shape;3273;p105">
              <a:extLst>
                <a:ext uri="{FF2B5EF4-FFF2-40B4-BE49-F238E27FC236}">
                  <a16:creationId xmlns:a16="http://schemas.microsoft.com/office/drawing/2014/main" xmlns="" id="{15566C68-0AA0-4F41-B8AB-E14C9721AC10}"/>
                </a:ext>
              </a:extLst>
            </p:cNvPr>
            <p:cNvSpPr/>
            <p:nvPr/>
          </p:nvSpPr>
          <p:spPr>
            <a:xfrm>
              <a:off x="3965" y="3562"/>
              <a:ext cx="520" cy="325"/>
            </a:xfrm>
            <a:custGeom>
              <a:avLst/>
              <a:gdLst/>
              <a:ahLst/>
              <a:cxnLst/>
              <a:rect l="l" t="t" r="r" b="b"/>
              <a:pathLst>
                <a:path w="847" h="536" extrusionOk="0">
                  <a:moveTo>
                    <a:pt x="423" y="504"/>
                  </a:moveTo>
                  <a:lnTo>
                    <a:pt x="423" y="504"/>
                  </a:lnTo>
                  <a:cubicBezTo>
                    <a:pt x="205" y="504"/>
                    <a:pt x="31" y="334"/>
                    <a:pt x="31" y="267"/>
                  </a:cubicBezTo>
                  <a:cubicBezTo>
                    <a:pt x="31" y="200"/>
                    <a:pt x="205" y="30"/>
                    <a:pt x="423" y="30"/>
                  </a:cubicBezTo>
                  <a:cubicBezTo>
                    <a:pt x="642" y="30"/>
                    <a:pt x="816" y="200"/>
                    <a:pt x="816" y="267"/>
                  </a:cubicBezTo>
                  <a:cubicBezTo>
                    <a:pt x="816" y="334"/>
                    <a:pt x="642" y="504"/>
                    <a:pt x="423" y="504"/>
                  </a:cubicBezTo>
                  <a:close/>
                  <a:moveTo>
                    <a:pt x="423" y="0"/>
                  </a:moveTo>
                  <a:lnTo>
                    <a:pt x="423" y="0"/>
                  </a:lnTo>
                  <a:cubicBezTo>
                    <a:pt x="187" y="0"/>
                    <a:pt x="0" y="191"/>
                    <a:pt x="0" y="267"/>
                  </a:cubicBezTo>
                  <a:cubicBezTo>
                    <a:pt x="0" y="343"/>
                    <a:pt x="187" y="536"/>
                    <a:pt x="423" y="536"/>
                  </a:cubicBezTo>
                  <a:cubicBezTo>
                    <a:pt x="659" y="536"/>
                    <a:pt x="847" y="343"/>
                    <a:pt x="847" y="267"/>
                  </a:cubicBezTo>
                  <a:cubicBezTo>
                    <a:pt x="847" y="191"/>
                    <a:pt x="659" y="0"/>
                    <a:pt x="423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3274;p105">
              <a:extLst>
                <a:ext uri="{FF2B5EF4-FFF2-40B4-BE49-F238E27FC236}">
                  <a16:creationId xmlns:a16="http://schemas.microsoft.com/office/drawing/2014/main" xmlns="" id="{17F963A3-79E8-0544-A9E6-7D8601F3D040}"/>
                </a:ext>
              </a:extLst>
            </p:cNvPr>
            <p:cNvSpPr/>
            <p:nvPr/>
          </p:nvSpPr>
          <p:spPr>
            <a:xfrm>
              <a:off x="4189" y="3689"/>
              <a:ext cx="72" cy="70"/>
            </a:xfrm>
            <a:custGeom>
              <a:avLst/>
              <a:gdLst/>
              <a:ahLst/>
              <a:cxnLst/>
              <a:rect l="l" t="t" r="r" b="b"/>
              <a:pathLst>
                <a:path w="117" h="116" extrusionOk="0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1" y="116"/>
                    <a:pt x="117" y="90"/>
                    <a:pt x="117" y="58"/>
                  </a:cubicBezTo>
                  <a:cubicBezTo>
                    <a:pt x="117" y="26"/>
                    <a:pt x="91" y="0"/>
                    <a:pt x="58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45" name="Google Shape;3275;p105">
              <a:extLst>
                <a:ext uri="{FF2B5EF4-FFF2-40B4-BE49-F238E27FC236}">
                  <a16:creationId xmlns:a16="http://schemas.microsoft.com/office/drawing/2014/main" xmlns="" id="{CD07B1A5-0C44-F74E-97E4-684E179637AA}"/>
                </a:ext>
              </a:extLst>
            </p:cNvPr>
            <p:cNvSpPr/>
            <p:nvPr/>
          </p:nvSpPr>
          <p:spPr>
            <a:xfrm>
              <a:off x="4108" y="3608"/>
              <a:ext cx="234" cy="232"/>
            </a:xfrm>
            <a:custGeom>
              <a:avLst/>
              <a:gdLst/>
              <a:ahLst/>
              <a:cxnLst/>
              <a:rect l="l" t="t" r="r" b="b"/>
              <a:pathLst>
                <a:path w="381" h="381" extrusionOk="0">
                  <a:moveTo>
                    <a:pt x="190" y="350"/>
                  </a:moveTo>
                  <a:lnTo>
                    <a:pt x="190" y="350"/>
                  </a:lnTo>
                  <a:cubicBezTo>
                    <a:pt x="103" y="350"/>
                    <a:pt x="31" y="278"/>
                    <a:pt x="31" y="190"/>
                  </a:cubicBezTo>
                  <a:cubicBezTo>
                    <a:pt x="31" y="102"/>
                    <a:pt x="103" y="31"/>
                    <a:pt x="190" y="31"/>
                  </a:cubicBezTo>
                  <a:cubicBezTo>
                    <a:pt x="278" y="31"/>
                    <a:pt x="350" y="102"/>
                    <a:pt x="350" y="190"/>
                  </a:cubicBezTo>
                  <a:cubicBezTo>
                    <a:pt x="350" y="278"/>
                    <a:pt x="278" y="350"/>
                    <a:pt x="190" y="350"/>
                  </a:cubicBezTo>
                  <a:close/>
                  <a:moveTo>
                    <a:pt x="190" y="0"/>
                  </a:moveTo>
                  <a:lnTo>
                    <a:pt x="190" y="0"/>
                  </a:lnTo>
                  <a:cubicBezTo>
                    <a:pt x="85" y="0"/>
                    <a:pt x="0" y="85"/>
                    <a:pt x="0" y="190"/>
                  </a:cubicBezTo>
                  <a:cubicBezTo>
                    <a:pt x="0" y="295"/>
                    <a:pt x="85" y="381"/>
                    <a:pt x="190" y="381"/>
                  </a:cubicBezTo>
                  <a:cubicBezTo>
                    <a:pt x="296" y="381"/>
                    <a:pt x="381" y="295"/>
                    <a:pt x="381" y="190"/>
                  </a:cubicBezTo>
                  <a:cubicBezTo>
                    <a:pt x="381" y="85"/>
                    <a:pt x="296" y="0"/>
                    <a:pt x="190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6" name="Google Shape;1341;p37">
            <a:extLst>
              <a:ext uri="{FF2B5EF4-FFF2-40B4-BE49-F238E27FC236}">
                <a16:creationId xmlns:a16="http://schemas.microsoft.com/office/drawing/2014/main" xmlns="" id="{62182EDE-3249-C24B-AB18-7B55F999CACE}"/>
              </a:ext>
            </a:extLst>
          </p:cNvPr>
          <p:cNvSpPr/>
          <p:nvPr/>
        </p:nvSpPr>
        <p:spPr>
          <a:xfrm>
            <a:off x="5447928" y="2204864"/>
            <a:ext cx="1408057" cy="1408057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47" name="Google Shape;4086;p113">
            <a:extLst>
              <a:ext uri="{FF2B5EF4-FFF2-40B4-BE49-F238E27FC236}">
                <a16:creationId xmlns:a16="http://schemas.microsoft.com/office/drawing/2014/main" xmlns="" id="{C37521FB-DD5F-044A-956F-03CD35EF3943}"/>
              </a:ext>
            </a:extLst>
          </p:cNvPr>
          <p:cNvGrpSpPr/>
          <p:nvPr/>
        </p:nvGrpSpPr>
        <p:grpSpPr>
          <a:xfrm>
            <a:off x="5788612" y="2545817"/>
            <a:ext cx="740447" cy="739167"/>
            <a:chOff x="1091" y="2665"/>
            <a:chExt cx="422" cy="422"/>
          </a:xfrm>
          <a:solidFill>
            <a:srgbClr val="7DFF45"/>
          </a:solidFill>
        </p:grpSpPr>
        <p:sp>
          <p:nvSpPr>
            <p:cNvPr id="48" name="Google Shape;4087;p113">
              <a:extLst>
                <a:ext uri="{FF2B5EF4-FFF2-40B4-BE49-F238E27FC236}">
                  <a16:creationId xmlns:a16="http://schemas.microsoft.com/office/drawing/2014/main" xmlns="" id="{E867DDC7-697B-C94C-B828-728CA899F55E}"/>
                </a:ext>
              </a:extLst>
            </p:cNvPr>
            <p:cNvSpPr/>
            <p:nvPr/>
          </p:nvSpPr>
          <p:spPr>
            <a:xfrm>
              <a:off x="1091" y="2665"/>
              <a:ext cx="422" cy="422"/>
            </a:xfrm>
            <a:custGeom>
              <a:avLst/>
              <a:gdLst/>
              <a:ahLst/>
              <a:cxnLst/>
              <a:rect l="l" t="t" r="r" b="b"/>
              <a:pathLst>
                <a:path w="691" h="691" extrusionOk="0">
                  <a:moveTo>
                    <a:pt x="675" y="235"/>
                  </a:moveTo>
                  <a:lnTo>
                    <a:pt x="675" y="235"/>
                  </a:lnTo>
                  <a:cubicBezTo>
                    <a:pt x="667" y="235"/>
                    <a:pt x="660" y="242"/>
                    <a:pt x="660" y="250"/>
                  </a:cubicBezTo>
                  <a:lnTo>
                    <a:pt x="660" y="596"/>
                  </a:lnTo>
                  <a:cubicBezTo>
                    <a:pt x="660" y="631"/>
                    <a:pt x="631" y="659"/>
                    <a:pt x="597" y="659"/>
                  </a:cubicBezTo>
                  <a:lnTo>
                    <a:pt x="94" y="659"/>
                  </a:lnTo>
                  <a:cubicBezTo>
                    <a:pt x="59" y="659"/>
                    <a:pt x="31" y="631"/>
                    <a:pt x="31" y="596"/>
                  </a:cubicBezTo>
                  <a:lnTo>
                    <a:pt x="31" y="93"/>
                  </a:lnTo>
                  <a:cubicBezTo>
                    <a:pt x="31" y="59"/>
                    <a:pt x="59" y="30"/>
                    <a:pt x="94" y="30"/>
                  </a:cubicBezTo>
                  <a:lnTo>
                    <a:pt x="440" y="30"/>
                  </a:lnTo>
                  <a:cubicBezTo>
                    <a:pt x="448" y="30"/>
                    <a:pt x="455" y="23"/>
                    <a:pt x="455" y="15"/>
                  </a:cubicBezTo>
                  <a:cubicBezTo>
                    <a:pt x="455" y="6"/>
                    <a:pt x="448" y="0"/>
                    <a:pt x="440" y="0"/>
                  </a:cubicBezTo>
                  <a:lnTo>
                    <a:pt x="94" y="0"/>
                  </a:lnTo>
                  <a:cubicBezTo>
                    <a:pt x="42" y="0"/>
                    <a:pt x="0" y="41"/>
                    <a:pt x="0" y="93"/>
                  </a:cubicBezTo>
                  <a:lnTo>
                    <a:pt x="0" y="596"/>
                  </a:lnTo>
                  <a:cubicBezTo>
                    <a:pt x="0" y="648"/>
                    <a:pt x="42" y="691"/>
                    <a:pt x="94" y="691"/>
                  </a:cubicBezTo>
                  <a:lnTo>
                    <a:pt x="597" y="691"/>
                  </a:lnTo>
                  <a:cubicBezTo>
                    <a:pt x="649" y="691"/>
                    <a:pt x="691" y="648"/>
                    <a:pt x="691" y="596"/>
                  </a:cubicBezTo>
                  <a:lnTo>
                    <a:pt x="691" y="250"/>
                  </a:lnTo>
                  <a:cubicBezTo>
                    <a:pt x="691" y="242"/>
                    <a:pt x="684" y="235"/>
                    <a:pt x="675" y="2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49" name="Google Shape;4088;p113">
              <a:extLst>
                <a:ext uri="{FF2B5EF4-FFF2-40B4-BE49-F238E27FC236}">
                  <a16:creationId xmlns:a16="http://schemas.microsoft.com/office/drawing/2014/main" xmlns="" id="{A1322BD8-7F67-1541-88FD-781619FA40A8}"/>
                </a:ext>
              </a:extLst>
            </p:cNvPr>
            <p:cNvSpPr/>
            <p:nvPr/>
          </p:nvSpPr>
          <p:spPr>
            <a:xfrm>
              <a:off x="1196" y="2665"/>
              <a:ext cx="317" cy="316"/>
            </a:xfrm>
            <a:custGeom>
              <a:avLst/>
              <a:gdLst/>
              <a:ahLst/>
              <a:cxnLst/>
              <a:rect l="l" t="t" r="r" b="b"/>
              <a:pathLst>
                <a:path w="519" h="518" extrusionOk="0">
                  <a:moveTo>
                    <a:pt x="474" y="111"/>
                  </a:moveTo>
                  <a:lnTo>
                    <a:pt x="474" y="111"/>
                  </a:lnTo>
                  <a:lnTo>
                    <a:pt x="454" y="131"/>
                  </a:lnTo>
                  <a:lnTo>
                    <a:pt x="387" y="64"/>
                  </a:lnTo>
                  <a:lnTo>
                    <a:pt x="407" y="44"/>
                  </a:lnTo>
                  <a:cubicBezTo>
                    <a:pt x="416" y="36"/>
                    <a:pt x="427" y="30"/>
                    <a:pt x="440" y="30"/>
                  </a:cubicBezTo>
                  <a:cubicBezTo>
                    <a:pt x="467" y="30"/>
                    <a:pt x="488" y="51"/>
                    <a:pt x="488" y="77"/>
                  </a:cubicBezTo>
                  <a:cubicBezTo>
                    <a:pt x="488" y="91"/>
                    <a:pt x="482" y="102"/>
                    <a:pt x="474" y="111"/>
                  </a:cubicBezTo>
                  <a:close/>
                  <a:moveTo>
                    <a:pt x="142" y="443"/>
                  </a:moveTo>
                  <a:lnTo>
                    <a:pt x="142" y="443"/>
                  </a:lnTo>
                  <a:lnTo>
                    <a:pt x="142" y="376"/>
                  </a:lnTo>
                  <a:lnTo>
                    <a:pt x="75" y="376"/>
                  </a:lnTo>
                  <a:lnTo>
                    <a:pt x="365" y="87"/>
                  </a:lnTo>
                  <a:lnTo>
                    <a:pt x="431" y="153"/>
                  </a:lnTo>
                  <a:lnTo>
                    <a:pt x="142" y="443"/>
                  </a:lnTo>
                  <a:close/>
                  <a:moveTo>
                    <a:pt x="110" y="466"/>
                  </a:moveTo>
                  <a:lnTo>
                    <a:pt x="110" y="466"/>
                  </a:lnTo>
                  <a:lnTo>
                    <a:pt x="40" y="478"/>
                  </a:lnTo>
                  <a:lnTo>
                    <a:pt x="52" y="408"/>
                  </a:lnTo>
                  <a:lnTo>
                    <a:pt x="110" y="408"/>
                  </a:lnTo>
                  <a:lnTo>
                    <a:pt x="110" y="466"/>
                  </a:lnTo>
                  <a:close/>
                  <a:moveTo>
                    <a:pt x="440" y="0"/>
                  </a:moveTo>
                  <a:lnTo>
                    <a:pt x="440" y="0"/>
                  </a:lnTo>
                  <a:cubicBezTo>
                    <a:pt x="419" y="0"/>
                    <a:pt x="399" y="8"/>
                    <a:pt x="385" y="22"/>
                  </a:cubicBezTo>
                  <a:lnTo>
                    <a:pt x="23" y="383"/>
                  </a:lnTo>
                  <a:lnTo>
                    <a:pt x="0" y="518"/>
                  </a:lnTo>
                  <a:lnTo>
                    <a:pt x="135" y="495"/>
                  </a:lnTo>
                  <a:lnTo>
                    <a:pt x="496" y="133"/>
                  </a:lnTo>
                  <a:cubicBezTo>
                    <a:pt x="510" y="119"/>
                    <a:pt x="519" y="99"/>
                    <a:pt x="519" y="77"/>
                  </a:cubicBezTo>
                  <a:cubicBezTo>
                    <a:pt x="519" y="34"/>
                    <a:pt x="484" y="0"/>
                    <a:pt x="4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0" name="Google Shape;1341;p37">
            <a:extLst>
              <a:ext uri="{FF2B5EF4-FFF2-40B4-BE49-F238E27FC236}">
                <a16:creationId xmlns:a16="http://schemas.microsoft.com/office/drawing/2014/main" xmlns="" id="{A9189C6F-3DC5-0941-801D-759F3131142E}"/>
              </a:ext>
            </a:extLst>
          </p:cNvPr>
          <p:cNvSpPr/>
          <p:nvPr/>
        </p:nvSpPr>
        <p:spPr>
          <a:xfrm>
            <a:off x="9254888" y="2211371"/>
            <a:ext cx="1408057" cy="1408057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51" name="Google Shape;3830;p111">
            <a:extLst>
              <a:ext uri="{FF2B5EF4-FFF2-40B4-BE49-F238E27FC236}">
                <a16:creationId xmlns:a16="http://schemas.microsoft.com/office/drawing/2014/main" xmlns="" id="{FD70F61D-2650-7248-8099-2FA8CC20F3F4}"/>
              </a:ext>
            </a:extLst>
          </p:cNvPr>
          <p:cNvGrpSpPr/>
          <p:nvPr/>
        </p:nvGrpSpPr>
        <p:grpSpPr>
          <a:xfrm>
            <a:off x="9734126" y="2492375"/>
            <a:ext cx="522540" cy="881249"/>
            <a:chOff x="2020" y="3058"/>
            <a:chExt cx="303" cy="511"/>
          </a:xfrm>
          <a:noFill/>
        </p:grpSpPr>
        <p:sp>
          <p:nvSpPr>
            <p:cNvPr id="52" name="Google Shape;3831;p111">
              <a:extLst>
                <a:ext uri="{FF2B5EF4-FFF2-40B4-BE49-F238E27FC236}">
                  <a16:creationId xmlns:a16="http://schemas.microsoft.com/office/drawing/2014/main" xmlns="" id="{5A5D7617-1745-244F-84A1-DF80B24EE1FE}"/>
                </a:ext>
              </a:extLst>
            </p:cNvPr>
            <p:cNvSpPr/>
            <p:nvPr/>
          </p:nvSpPr>
          <p:spPr>
            <a:xfrm>
              <a:off x="2160" y="3058"/>
              <a:ext cx="92" cy="93"/>
            </a:xfrm>
            <a:custGeom>
              <a:avLst/>
              <a:gdLst/>
              <a:ahLst/>
              <a:cxnLst/>
              <a:rect l="l" t="t" r="r" b="b"/>
              <a:pathLst>
                <a:path w="151" h="151" extrusionOk="0">
                  <a:moveTo>
                    <a:pt x="75" y="151"/>
                  </a:moveTo>
                  <a:lnTo>
                    <a:pt x="75" y="151"/>
                  </a:lnTo>
                  <a:cubicBezTo>
                    <a:pt x="117" y="151"/>
                    <a:pt x="151" y="117"/>
                    <a:pt x="151" y="76"/>
                  </a:cubicBezTo>
                  <a:cubicBezTo>
                    <a:pt x="151" y="34"/>
                    <a:pt x="117" y="0"/>
                    <a:pt x="75" y="0"/>
                  </a:cubicBezTo>
                  <a:cubicBezTo>
                    <a:pt x="34" y="0"/>
                    <a:pt x="0" y="34"/>
                    <a:pt x="0" y="76"/>
                  </a:cubicBezTo>
                  <a:cubicBezTo>
                    <a:pt x="0" y="117"/>
                    <a:pt x="34" y="151"/>
                    <a:pt x="75" y="151"/>
                  </a:cubicBezTo>
                  <a:lnTo>
                    <a:pt x="75" y="151"/>
                  </a:lnTo>
                  <a:close/>
                </a:path>
              </a:pathLst>
            </a:custGeom>
            <a:grpFill/>
            <a:ln w="38100" cap="flat" cmpd="sng">
              <a:solidFill>
                <a:srgbClr val="7DFF4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Google Shape;3832;p111">
              <a:extLst>
                <a:ext uri="{FF2B5EF4-FFF2-40B4-BE49-F238E27FC236}">
                  <a16:creationId xmlns:a16="http://schemas.microsoft.com/office/drawing/2014/main" xmlns="" id="{92E53B1D-F8E3-9540-978D-9F3772F4E862}"/>
                </a:ext>
              </a:extLst>
            </p:cNvPr>
            <p:cNvSpPr/>
            <p:nvPr/>
          </p:nvSpPr>
          <p:spPr>
            <a:xfrm>
              <a:off x="2020" y="3168"/>
              <a:ext cx="303" cy="401"/>
            </a:xfrm>
            <a:custGeom>
              <a:avLst/>
              <a:gdLst/>
              <a:ahLst/>
              <a:cxnLst/>
              <a:rect l="l" t="t" r="r" b="b"/>
              <a:pathLst>
                <a:path w="493" h="651" extrusionOk="0">
                  <a:moveTo>
                    <a:pt x="155" y="101"/>
                  </a:moveTo>
                  <a:lnTo>
                    <a:pt x="155" y="101"/>
                  </a:lnTo>
                  <a:lnTo>
                    <a:pt x="7" y="579"/>
                  </a:lnTo>
                  <a:cubicBezTo>
                    <a:pt x="1" y="601"/>
                    <a:pt x="15" y="622"/>
                    <a:pt x="37" y="625"/>
                  </a:cubicBezTo>
                  <a:cubicBezTo>
                    <a:pt x="59" y="627"/>
                    <a:pt x="79" y="614"/>
                    <a:pt x="85" y="594"/>
                  </a:cubicBezTo>
                  <a:lnTo>
                    <a:pt x="162" y="365"/>
                  </a:lnTo>
                  <a:cubicBezTo>
                    <a:pt x="166" y="352"/>
                    <a:pt x="184" y="348"/>
                    <a:pt x="193" y="359"/>
                  </a:cubicBezTo>
                  <a:lnTo>
                    <a:pt x="240" y="413"/>
                  </a:lnTo>
                  <a:cubicBezTo>
                    <a:pt x="243" y="417"/>
                    <a:pt x="244" y="422"/>
                    <a:pt x="244" y="427"/>
                  </a:cubicBezTo>
                  <a:lnTo>
                    <a:pt x="224" y="611"/>
                  </a:lnTo>
                  <a:cubicBezTo>
                    <a:pt x="222" y="629"/>
                    <a:pt x="236" y="646"/>
                    <a:pt x="254" y="648"/>
                  </a:cubicBezTo>
                  <a:cubicBezTo>
                    <a:pt x="277" y="651"/>
                    <a:pt x="298" y="634"/>
                    <a:pt x="300" y="612"/>
                  </a:cubicBezTo>
                  <a:lnTo>
                    <a:pt x="325" y="383"/>
                  </a:lnTo>
                  <a:cubicBezTo>
                    <a:pt x="326" y="374"/>
                    <a:pt x="323" y="365"/>
                    <a:pt x="317" y="358"/>
                  </a:cubicBezTo>
                  <a:lnTo>
                    <a:pt x="264" y="291"/>
                  </a:lnTo>
                  <a:cubicBezTo>
                    <a:pt x="260" y="286"/>
                    <a:pt x="259" y="280"/>
                    <a:pt x="260" y="274"/>
                  </a:cubicBezTo>
                  <a:lnTo>
                    <a:pt x="282" y="207"/>
                  </a:lnTo>
                  <a:cubicBezTo>
                    <a:pt x="286" y="193"/>
                    <a:pt x="303" y="190"/>
                    <a:pt x="313" y="201"/>
                  </a:cubicBezTo>
                  <a:cubicBezTo>
                    <a:pt x="346" y="241"/>
                    <a:pt x="392" y="271"/>
                    <a:pt x="444" y="285"/>
                  </a:cubicBezTo>
                  <a:cubicBezTo>
                    <a:pt x="466" y="291"/>
                    <a:pt x="488" y="276"/>
                    <a:pt x="491" y="254"/>
                  </a:cubicBezTo>
                  <a:lnTo>
                    <a:pt x="491" y="251"/>
                  </a:lnTo>
                  <a:cubicBezTo>
                    <a:pt x="493" y="233"/>
                    <a:pt x="482" y="217"/>
                    <a:pt x="464" y="212"/>
                  </a:cubicBezTo>
                  <a:cubicBezTo>
                    <a:pt x="409" y="197"/>
                    <a:pt x="365" y="157"/>
                    <a:pt x="341" y="108"/>
                  </a:cubicBezTo>
                  <a:lnTo>
                    <a:pt x="312" y="44"/>
                  </a:lnTo>
                  <a:cubicBezTo>
                    <a:pt x="301" y="20"/>
                    <a:pt x="278" y="4"/>
                    <a:pt x="252" y="1"/>
                  </a:cubicBezTo>
                  <a:cubicBezTo>
                    <a:pt x="242" y="0"/>
                    <a:pt x="233" y="1"/>
                    <a:pt x="223" y="4"/>
                  </a:cubicBezTo>
                  <a:lnTo>
                    <a:pt x="28" y="60"/>
                  </a:lnTo>
                  <a:cubicBezTo>
                    <a:pt x="21" y="62"/>
                    <a:pt x="16" y="68"/>
                    <a:pt x="16" y="75"/>
                  </a:cubicBezTo>
                  <a:lnTo>
                    <a:pt x="2" y="205"/>
                  </a:lnTo>
                  <a:cubicBezTo>
                    <a:pt x="0" y="224"/>
                    <a:pt x="14" y="242"/>
                    <a:pt x="33" y="244"/>
                  </a:cubicBezTo>
                  <a:lnTo>
                    <a:pt x="37" y="244"/>
                  </a:lnTo>
                  <a:cubicBezTo>
                    <a:pt x="57" y="247"/>
                    <a:pt x="75" y="232"/>
                    <a:pt x="77" y="213"/>
                  </a:cubicBezTo>
                  <a:lnTo>
                    <a:pt x="85" y="134"/>
                  </a:lnTo>
                  <a:cubicBezTo>
                    <a:pt x="86" y="127"/>
                    <a:pt x="91" y="121"/>
                    <a:pt x="98" y="119"/>
                  </a:cubicBezTo>
                  <a:lnTo>
                    <a:pt x="155" y="101"/>
                  </a:lnTo>
                  <a:lnTo>
                    <a:pt x="155" y="101"/>
                  </a:lnTo>
                  <a:close/>
                </a:path>
              </a:pathLst>
            </a:custGeom>
            <a:grpFill/>
            <a:ln w="38100" cap="rnd" cmpd="sng">
              <a:solidFill>
                <a:srgbClr val="7DFF4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169525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Elipse 47">
            <a:extLst>
              <a:ext uri="{FF2B5EF4-FFF2-40B4-BE49-F238E27FC236}">
                <a16:creationId xmlns:a16="http://schemas.microsoft.com/office/drawing/2014/main" xmlns="" id="{AAACBA79-8DF9-C74E-9B06-6D48BB0E0349}"/>
              </a:ext>
            </a:extLst>
          </p:cNvPr>
          <p:cNvSpPr/>
          <p:nvPr/>
        </p:nvSpPr>
        <p:spPr>
          <a:xfrm>
            <a:off x="7261806" y="1325601"/>
            <a:ext cx="1030581" cy="1030581"/>
          </a:xfrm>
          <a:prstGeom prst="ellipse">
            <a:avLst/>
          </a:prstGeom>
          <a:solidFill>
            <a:srgbClr val="83B8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 dirty="0"/>
          </a:p>
        </p:txBody>
      </p:sp>
      <p:sp>
        <p:nvSpPr>
          <p:cNvPr id="52" name="Elipse 51">
            <a:extLst>
              <a:ext uri="{FF2B5EF4-FFF2-40B4-BE49-F238E27FC236}">
                <a16:creationId xmlns:a16="http://schemas.microsoft.com/office/drawing/2014/main" xmlns="" id="{79C6B8FF-2E67-1341-BAE8-573501BB171B}"/>
              </a:ext>
            </a:extLst>
          </p:cNvPr>
          <p:cNvSpPr/>
          <p:nvPr/>
        </p:nvSpPr>
        <p:spPr>
          <a:xfrm>
            <a:off x="8670648" y="2100307"/>
            <a:ext cx="1030581" cy="1030581"/>
          </a:xfrm>
          <a:prstGeom prst="ellipse">
            <a:avLst/>
          </a:prstGeom>
          <a:solidFill>
            <a:srgbClr val="83B8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 dirty="0"/>
          </a:p>
        </p:txBody>
      </p:sp>
      <p:pic>
        <p:nvPicPr>
          <p:cNvPr id="51" name="Imagen 50">
            <a:extLst>
              <a:ext uri="{FF2B5EF4-FFF2-40B4-BE49-F238E27FC236}">
                <a16:creationId xmlns:a16="http://schemas.microsoft.com/office/drawing/2014/main" xmlns="" id="{274748A8-04F9-F447-B6D8-6AFD6DC34D7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40" t="2042" r="6" b="47"/>
          <a:stretch/>
        </p:blipFill>
        <p:spPr>
          <a:xfrm>
            <a:off x="7412864" y="1347595"/>
            <a:ext cx="773691" cy="1135669"/>
          </a:xfrm>
          <a:prstGeom prst="rect">
            <a:avLst/>
          </a:prstGeom>
        </p:spPr>
      </p:pic>
      <p:pic>
        <p:nvPicPr>
          <p:cNvPr id="50" name="Imagen 49">
            <a:extLst>
              <a:ext uri="{FF2B5EF4-FFF2-40B4-BE49-F238E27FC236}">
                <a16:creationId xmlns:a16="http://schemas.microsoft.com/office/drawing/2014/main" xmlns="" id="{DCB8C9E6-F5FF-1849-AE85-A4185BF7CDD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99" t="2042" r="36218" b="47"/>
          <a:stretch/>
        </p:blipFill>
        <p:spPr>
          <a:xfrm>
            <a:off x="8799000" y="2146991"/>
            <a:ext cx="787427" cy="912498"/>
          </a:xfrm>
          <a:prstGeom prst="rect">
            <a:avLst/>
          </a:prstGeom>
        </p:spPr>
      </p:pic>
      <p:sp>
        <p:nvSpPr>
          <p:cNvPr id="54" name="Elipse 53">
            <a:extLst>
              <a:ext uri="{FF2B5EF4-FFF2-40B4-BE49-F238E27FC236}">
                <a16:creationId xmlns:a16="http://schemas.microsoft.com/office/drawing/2014/main" xmlns="" id="{4C87C460-ED3A-A642-8B0E-0199F1BDB1DE}"/>
              </a:ext>
            </a:extLst>
          </p:cNvPr>
          <p:cNvSpPr/>
          <p:nvPr/>
        </p:nvSpPr>
        <p:spPr>
          <a:xfrm>
            <a:off x="10219363" y="1385960"/>
            <a:ext cx="1030581" cy="1030581"/>
          </a:xfrm>
          <a:prstGeom prst="ellipse">
            <a:avLst/>
          </a:prstGeom>
          <a:solidFill>
            <a:srgbClr val="83B8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 dirty="0"/>
          </a:p>
        </p:txBody>
      </p:sp>
      <p:pic>
        <p:nvPicPr>
          <p:cNvPr id="60" name="Imagen 59">
            <a:extLst>
              <a:ext uri="{FF2B5EF4-FFF2-40B4-BE49-F238E27FC236}">
                <a16:creationId xmlns:a16="http://schemas.microsoft.com/office/drawing/2014/main" xmlns="" id="{7625B5D8-8DA8-BD46-AF42-D67B59A381A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" b="-42"/>
          <a:stretch/>
        </p:blipFill>
        <p:spPr>
          <a:xfrm>
            <a:off x="10417084" y="1389651"/>
            <a:ext cx="855996" cy="955194"/>
          </a:xfrm>
          <a:prstGeom prst="rect">
            <a:avLst/>
          </a:prstGeom>
        </p:spPr>
      </p:pic>
      <p:sp>
        <p:nvSpPr>
          <p:cNvPr id="62" name="Elipse 61">
            <a:extLst>
              <a:ext uri="{FF2B5EF4-FFF2-40B4-BE49-F238E27FC236}">
                <a16:creationId xmlns:a16="http://schemas.microsoft.com/office/drawing/2014/main" xmlns="" id="{9723E4D7-83A5-D64E-A743-F4220D400F17}"/>
              </a:ext>
            </a:extLst>
          </p:cNvPr>
          <p:cNvSpPr/>
          <p:nvPr/>
        </p:nvSpPr>
        <p:spPr>
          <a:xfrm>
            <a:off x="5571140" y="2017958"/>
            <a:ext cx="1030581" cy="1030581"/>
          </a:xfrm>
          <a:prstGeom prst="ellipse">
            <a:avLst/>
          </a:prstGeom>
          <a:solidFill>
            <a:srgbClr val="83B8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 dirty="0"/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xmlns="" id="{E91519FF-E942-5A41-940B-F3016F585E7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464" b="2089"/>
          <a:stretch/>
        </p:blipFill>
        <p:spPr>
          <a:xfrm>
            <a:off x="5751661" y="2105478"/>
            <a:ext cx="688599" cy="986574"/>
          </a:xfrm>
          <a:prstGeom prst="rect">
            <a:avLst/>
          </a:prstGeom>
        </p:spPr>
      </p:pic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xmlns="" id="{F36F3C20-00FD-BD4B-BBBE-038D1FB3DBA4}"/>
              </a:ext>
            </a:extLst>
          </p:cNvPr>
          <p:cNvCxnSpPr>
            <a:cxnSpLocks/>
          </p:cNvCxnSpPr>
          <p:nvPr/>
        </p:nvCxnSpPr>
        <p:spPr>
          <a:xfrm>
            <a:off x="5608327" y="2356182"/>
            <a:ext cx="953121" cy="368401"/>
          </a:xfrm>
          <a:prstGeom prst="line">
            <a:avLst/>
          </a:prstGeom>
          <a:ln w="793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ítulo 30">
            <a:extLst>
              <a:ext uri="{FF2B5EF4-FFF2-40B4-BE49-F238E27FC236}">
                <a16:creationId xmlns:a16="http://schemas.microsoft.com/office/drawing/2014/main" xmlns="" id="{D3D6A2C4-3162-3D4C-A294-83A29BC6AAE2}"/>
              </a:ext>
            </a:extLst>
          </p:cNvPr>
          <p:cNvSpPr txBox="1">
            <a:spLocks/>
          </p:cNvSpPr>
          <p:nvPr/>
        </p:nvSpPr>
        <p:spPr>
          <a:xfrm>
            <a:off x="298352" y="326987"/>
            <a:ext cx="4861544" cy="517751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Ejemplo</a:t>
            </a:r>
          </a:p>
        </p:txBody>
      </p:sp>
      <p:cxnSp>
        <p:nvCxnSpPr>
          <p:cNvPr id="77" name="Conector recto 76">
            <a:extLst>
              <a:ext uri="{FF2B5EF4-FFF2-40B4-BE49-F238E27FC236}">
                <a16:creationId xmlns:a16="http://schemas.microsoft.com/office/drawing/2014/main" xmlns="" id="{FC7B2B3D-2716-BF43-A0C9-5B4118B529AD}"/>
              </a:ext>
            </a:extLst>
          </p:cNvPr>
          <p:cNvCxnSpPr>
            <a:cxnSpLocks/>
          </p:cNvCxnSpPr>
          <p:nvPr/>
        </p:nvCxnSpPr>
        <p:spPr>
          <a:xfrm>
            <a:off x="407988" y="308776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238D581B-64A8-5042-BC93-3ADDC23C2C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" t="-53" r="12" b="-1"/>
          <a:stretch/>
        </p:blipFill>
        <p:spPr>
          <a:xfrm>
            <a:off x="2204545" y="1213759"/>
            <a:ext cx="9997386" cy="5623870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xmlns="" id="{D4657C56-95C5-8D46-B7AC-05C96C3F3CD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sp>
        <p:nvSpPr>
          <p:cNvPr id="24" name="Google Shape;1431;p39">
            <a:extLst>
              <a:ext uri="{FF2B5EF4-FFF2-40B4-BE49-F238E27FC236}">
                <a16:creationId xmlns:a16="http://schemas.microsoft.com/office/drawing/2014/main" xmlns="" id="{F418A8E2-A89A-9647-AF24-37973C878794}"/>
              </a:ext>
            </a:extLst>
          </p:cNvPr>
          <p:cNvSpPr/>
          <p:nvPr/>
        </p:nvSpPr>
        <p:spPr>
          <a:xfrm>
            <a:off x="417270" y="1206461"/>
            <a:ext cx="948539" cy="948539"/>
          </a:xfrm>
          <a:prstGeom prst="ellipse">
            <a:avLst/>
          </a:prstGeom>
          <a:solidFill>
            <a:srgbClr val="0FC044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DE1A6F48-EDB7-0A4E-9CD3-A7DBFE39E57F}"/>
              </a:ext>
            </a:extLst>
          </p:cNvPr>
          <p:cNvSpPr/>
          <p:nvPr/>
        </p:nvSpPr>
        <p:spPr>
          <a:xfrm>
            <a:off x="379454" y="1484106"/>
            <a:ext cx="100219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600" dirty="0">
                <a:solidFill>
                  <a:srgbClr val="EAEADE"/>
                </a:solidFill>
                <a:latin typeface="ACHS Nueva Sans" pitchFamily="2" charset="0"/>
                <a:cs typeface="Arial" panose="020B0604020202020204" pitchFamily="34" charset="0"/>
              </a:rPr>
              <a:t>Observa</a:t>
            </a:r>
          </a:p>
        </p:txBody>
      </p:sp>
      <p:sp>
        <p:nvSpPr>
          <p:cNvPr id="27" name="Google Shape;1431;p39">
            <a:extLst>
              <a:ext uri="{FF2B5EF4-FFF2-40B4-BE49-F238E27FC236}">
                <a16:creationId xmlns:a16="http://schemas.microsoft.com/office/drawing/2014/main" xmlns="" id="{B05E0CF8-7363-D244-93F5-9DAE7920E90F}"/>
              </a:ext>
            </a:extLst>
          </p:cNvPr>
          <p:cNvSpPr/>
          <p:nvPr/>
        </p:nvSpPr>
        <p:spPr>
          <a:xfrm>
            <a:off x="1415480" y="1206461"/>
            <a:ext cx="948539" cy="948539"/>
          </a:xfrm>
          <a:prstGeom prst="ellipse">
            <a:avLst/>
          </a:prstGeom>
          <a:solidFill>
            <a:srgbClr val="0FC044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xmlns="" id="{F2B0A78C-70A0-A44A-90DE-3A50C092AF64}"/>
              </a:ext>
            </a:extLst>
          </p:cNvPr>
          <p:cNvSpPr/>
          <p:nvPr/>
        </p:nvSpPr>
        <p:spPr>
          <a:xfrm>
            <a:off x="1343472" y="1484106"/>
            <a:ext cx="111280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600" dirty="0">
                <a:solidFill>
                  <a:srgbClr val="EAEADE"/>
                </a:solidFill>
                <a:latin typeface="ACHS Nueva Sans" pitchFamily="2" charset="0"/>
                <a:cs typeface="Arial" panose="020B0604020202020204" pitchFamily="34" charset="0"/>
              </a:rPr>
              <a:t>Distingue</a:t>
            </a:r>
          </a:p>
        </p:txBody>
      </p:sp>
      <p:sp>
        <p:nvSpPr>
          <p:cNvPr id="28" name="Google Shape;1431;p39">
            <a:extLst>
              <a:ext uri="{FF2B5EF4-FFF2-40B4-BE49-F238E27FC236}">
                <a16:creationId xmlns:a16="http://schemas.microsoft.com/office/drawing/2014/main" xmlns="" id="{E82D44C9-698D-714C-9BA0-66D82319A64C}"/>
              </a:ext>
            </a:extLst>
          </p:cNvPr>
          <p:cNvSpPr/>
          <p:nvPr/>
        </p:nvSpPr>
        <p:spPr>
          <a:xfrm>
            <a:off x="2426642" y="1206461"/>
            <a:ext cx="948539" cy="948539"/>
          </a:xfrm>
          <a:prstGeom prst="ellipse">
            <a:avLst/>
          </a:prstGeom>
          <a:solidFill>
            <a:srgbClr val="0FC044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xmlns="" id="{0DEDE3FD-5D10-DF44-A4E0-5C18E3727963}"/>
              </a:ext>
            </a:extLst>
          </p:cNvPr>
          <p:cNvSpPr/>
          <p:nvPr/>
        </p:nvSpPr>
        <p:spPr>
          <a:xfrm>
            <a:off x="2484717" y="1502337"/>
            <a:ext cx="9108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600" dirty="0">
                <a:solidFill>
                  <a:srgbClr val="EAEADE"/>
                </a:solidFill>
                <a:latin typeface="ACHS Nueva Sans" pitchFamily="2" charset="0"/>
                <a:cs typeface="Arial" panose="020B0604020202020204" pitchFamily="34" charset="0"/>
              </a:rPr>
              <a:t>Ejecu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072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B3A99013-4CA5-451B-917A-BD8D174B53F3}"/>
              </a:ext>
            </a:extLst>
          </p:cNvPr>
          <p:cNvSpPr/>
          <p:nvPr/>
        </p:nvSpPr>
        <p:spPr>
          <a:xfrm>
            <a:off x="330922" y="908720"/>
            <a:ext cx="4757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03113">
              <a:defRPr/>
            </a:pPr>
            <a:r>
              <a:rPr lang="es-ES_tradn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Queremos que aprendas a utilizar el modelo de conducta preventiva </a:t>
            </a:r>
            <a:r>
              <a:rPr lang="es-ES_tradnl" sz="1600" b="1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ODE.</a:t>
            </a:r>
            <a:r>
              <a:rPr lang="es-ES_tradn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 Para ello, te proponemos una actividad.</a:t>
            </a:r>
          </a:p>
        </p:txBody>
      </p:sp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E94BA67C-BC99-444F-B427-938B1CBE1FB4}"/>
              </a:ext>
            </a:extLst>
          </p:cNvPr>
          <p:cNvSpPr txBox="1">
            <a:spLocks/>
          </p:cNvSpPr>
          <p:nvPr/>
        </p:nvSpPr>
        <p:spPr>
          <a:xfrm>
            <a:off x="312745" y="320749"/>
            <a:ext cx="5422711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b="1" dirty="0" smtClean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Actividad 1: </a:t>
            </a:r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aplicación del ODE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2880534A-4810-0A40-9EF6-AFDB7F647098}"/>
              </a:ext>
            </a:extLst>
          </p:cNvPr>
          <p:cNvCxnSpPr>
            <a:cxnSpLocks/>
          </p:cNvCxnSpPr>
          <p:nvPr/>
        </p:nvCxnSpPr>
        <p:spPr>
          <a:xfrm>
            <a:off x="407988" y="302781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Google Shape;1428;p39">
            <a:extLst>
              <a:ext uri="{FF2B5EF4-FFF2-40B4-BE49-F238E27FC236}">
                <a16:creationId xmlns:a16="http://schemas.microsoft.com/office/drawing/2014/main" xmlns="" id="{7C549E6B-965B-544B-9A93-4A45E2B282FB}"/>
              </a:ext>
            </a:extLst>
          </p:cNvPr>
          <p:cNvSpPr/>
          <p:nvPr/>
        </p:nvSpPr>
        <p:spPr>
          <a:xfrm>
            <a:off x="1719485" y="2321212"/>
            <a:ext cx="6392739" cy="1323812"/>
          </a:xfrm>
          <a:prstGeom prst="rect">
            <a:avLst/>
          </a:prstGeom>
          <a:solidFill>
            <a:srgbClr val="15C045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 marL="0" marR="0" lvl="0" indent="0" algn="l" rtl="0">
              <a:spcBef>
                <a:spcPts val="400"/>
              </a:spcBef>
              <a:spcAft>
                <a:spcPts val="0"/>
              </a:spcAft>
              <a:buNone/>
            </a:pPr>
            <a:endParaRPr dirty="0">
              <a:latin typeface="ACHS Nueva Sans" pitchFamily="2" charset="0"/>
            </a:endParaRPr>
          </a:p>
        </p:txBody>
      </p:sp>
      <p:sp>
        <p:nvSpPr>
          <p:cNvPr id="34" name="Google Shape;1431;p39">
            <a:extLst>
              <a:ext uri="{FF2B5EF4-FFF2-40B4-BE49-F238E27FC236}">
                <a16:creationId xmlns:a16="http://schemas.microsoft.com/office/drawing/2014/main" xmlns="" id="{FC9FF85B-1081-AB40-9A56-FC98445837BA}"/>
              </a:ext>
            </a:extLst>
          </p:cNvPr>
          <p:cNvSpPr/>
          <p:nvPr/>
        </p:nvSpPr>
        <p:spPr>
          <a:xfrm>
            <a:off x="1065516" y="2276872"/>
            <a:ext cx="1439689" cy="1439689"/>
          </a:xfrm>
          <a:prstGeom prst="ellipse">
            <a:avLst/>
          </a:prstGeom>
          <a:solidFill>
            <a:srgbClr val="004C1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533E3D62-010E-42D2-BB94-A73F22B74D6B}"/>
              </a:ext>
            </a:extLst>
          </p:cNvPr>
          <p:cNvSpPr/>
          <p:nvPr/>
        </p:nvSpPr>
        <p:spPr>
          <a:xfrm>
            <a:off x="2505205" y="2535617"/>
            <a:ext cx="33798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03113">
              <a:defRPr/>
            </a:pPr>
            <a:r>
              <a:rPr lang="es-ES_tradnl" sz="1600" b="1" u="sng" dirty="0">
                <a:solidFill>
                  <a:schemeClr val="bg1">
                    <a:lumMod val="9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Paso 1</a:t>
            </a:r>
          </a:p>
          <a:p>
            <a:pPr defTabSz="903113">
              <a:defRPr/>
            </a:pPr>
            <a:r>
              <a:rPr lang="es-ES_tradnl" sz="1600" dirty="0">
                <a:solidFill>
                  <a:schemeClr val="bg1">
                    <a:lumMod val="9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Dibuja un mapa por donde te desplazas regularmente.</a:t>
            </a:r>
          </a:p>
        </p:txBody>
      </p:sp>
      <p:sp>
        <p:nvSpPr>
          <p:cNvPr id="36" name="Google Shape;1428;p39">
            <a:extLst>
              <a:ext uri="{FF2B5EF4-FFF2-40B4-BE49-F238E27FC236}">
                <a16:creationId xmlns:a16="http://schemas.microsoft.com/office/drawing/2014/main" xmlns="" id="{A3CEEA06-8C23-4B40-92EE-A9EE85E8B2C0}"/>
              </a:ext>
            </a:extLst>
          </p:cNvPr>
          <p:cNvSpPr/>
          <p:nvPr/>
        </p:nvSpPr>
        <p:spPr>
          <a:xfrm>
            <a:off x="3447677" y="4128211"/>
            <a:ext cx="6392739" cy="1323812"/>
          </a:xfrm>
          <a:prstGeom prst="rect">
            <a:avLst/>
          </a:prstGeom>
          <a:solidFill>
            <a:srgbClr val="15C045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 marL="0" marR="0" lvl="0" indent="0" algn="l" rtl="0">
              <a:spcBef>
                <a:spcPts val="400"/>
              </a:spcBef>
              <a:spcAft>
                <a:spcPts val="0"/>
              </a:spcAft>
              <a:buNone/>
            </a:pPr>
            <a:endParaRPr dirty="0">
              <a:latin typeface="ACHS Nueva Sans" pitchFamily="2" charset="0"/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xmlns="" id="{6097CAF2-65FB-6149-A77F-0553A0C522D9}"/>
              </a:ext>
            </a:extLst>
          </p:cNvPr>
          <p:cNvSpPr/>
          <p:nvPr/>
        </p:nvSpPr>
        <p:spPr>
          <a:xfrm>
            <a:off x="4233397" y="4342616"/>
            <a:ext cx="3379809" cy="10747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03113">
              <a:defRPr/>
            </a:pPr>
            <a:r>
              <a:rPr lang="es-ES_tradnl" sz="1600" b="1" u="sng" dirty="0">
                <a:solidFill>
                  <a:schemeClr val="bg1">
                    <a:lumMod val="9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Paso 2</a:t>
            </a:r>
          </a:p>
          <a:p>
            <a:pPr defTabSz="903113">
              <a:defRPr/>
            </a:pPr>
            <a:r>
              <a:rPr lang="es-ES_tradnl" sz="1600" dirty="0">
                <a:solidFill>
                  <a:schemeClr val="bg1">
                    <a:lumMod val="9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Dibuja el trayecto que realizas frecuentemente.</a:t>
            </a:r>
          </a:p>
          <a:p>
            <a:pPr defTabSz="903113">
              <a:defRPr/>
            </a:pPr>
            <a:endParaRPr lang="es-ES_tradnl" sz="1600" dirty="0">
              <a:solidFill>
                <a:schemeClr val="bg1">
                  <a:lumMod val="95000"/>
                </a:schemeClr>
              </a:solidFill>
              <a:latin typeface="ACHS Nueva Sans" pitchFamily="2" charset="0"/>
              <a:ea typeface="Constantia" panose="02030602050306030303" pitchFamily="18" charset="0"/>
              <a:cs typeface="Arial" panose="020B0604020202020204" pitchFamily="34" charset="0"/>
            </a:endParaRPr>
          </a:p>
        </p:txBody>
      </p:sp>
      <p:sp>
        <p:nvSpPr>
          <p:cNvPr id="42" name="Google Shape;1431;p39">
            <a:extLst>
              <a:ext uri="{FF2B5EF4-FFF2-40B4-BE49-F238E27FC236}">
                <a16:creationId xmlns:a16="http://schemas.microsoft.com/office/drawing/2014/main" xmlns="" id="{C9ABE9F7-49E0-EF4C-A044-8CA8B01452DA}"/>
              </a:ext>
            </a:extLst>
          </p:cNvPr>
          <p:cNvSpPr/>
          <p:nvPr/>
        </p:nvSpPr>
        <p:spPr>
          <a:xfrm>
            <a:off x="2727832" y="4066333"/>
            <a:ext cx="1439689" cy="1439689"/>
          </a:xfrm>
          <a:prstGeom prst="ellipse">
            <a:avLst/>
          </a:prstGeom>
          <a:solidFill>
            <a:srgbClr val="004C1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12" name="Google Shape;4119;p113">
            <a:extLst>
              <a:ext uri="{FF2B5EF4-FFF2-40B4-BE49-F238E27FC236}">
                <a16:creationId xmlns:a16="http://schemas.microsoft.com/office/drawing/2014/main" xmlns="" id="{7930574E-9506-A44C-A16C-CF9DFE93DBC5}"/>
              </a:ext>
            </a:extLst>
          </p:cNvPr>
          <p:cNvGrpSpPr/>
          <p:nvPr/>
        </p:nvGrpSpPr>
        <p:grpSpPr>
          <a:xfrm rot="5017772">
            <a:off x="2956645" y="4481219"/>
            <a:ext cx="896389" cy="578834"/>
            <a:chOff x="340" y="3493"/>
            <a:chExt cx="446" cy="288"/>
          </a:xfrm>
          <a:solidFill>
            <a:srgbClr val="7DFF45"/>
          </a:solidFill>
        </p:grpSpPr>
        <p:sp>
          <p:nvSpPr>
            <p:cNvPr id="16" name="Google Shape;4120;p113">
              <a:extLst>
                <a:ext uri="{FF2B5EF4-FFF2-40B4-BE49-F238E27FC236}">
                  <a16:creationId xmlns:a16="http://schemas.microsoft.com/office/drawing/2014/main" xmlns="" id="{184B4B58-508F-524E-B078-F0CA93CA7EA6}"/>
                </a:ext>
              </a:extLst>
            </p:cNvPr>
            <p:cNvSpPr/>
            <p:nvPr/>
          </p:nvSpPr>
          <p:spPr>
            <a:xfrm>
              <a:off x="390" y="3542"/>
              <a:ext cx="156" cy="157"/>
            </a:xfrm>
            <a:custGeom>
              <a:avLst/>
              <a:gdLst/>
              <a:ahLst/>
              <a:cxnLst/>
              <a:rect l="l" t="t" r="r" b="b"/>
              <a:pathLst>
                <a:path w="260" h="260" extrusionOk="0">
                  <a:moveTo>
                    <a:pt x="26" y="1"/>
                  </a:moveTo>
                  <a:lnTo>
                    <a:pt x="26" y="1"/>
                  </a:lnTo>
                  <a:lnTo>
                    <a:pt x="25" y="0"/>
                  </a:lnTo>
                  <a:lnTo>
                    <a:pt x="1" y="23"/>
                  </a:lnTo>
                  <a:lnTo>
                    <a:pt x="0" y="24"/>
                  </a:lnTo>
                  <a:lnTo>
                    <a:pt x="235" y="259"/>
                  </a:lnTo>
                  <a:lnTo>
                    <a:pt x="236" y="260"/>
                  </a:lnTo>
                  <a:lnTo>
                    <a:pt x="259" y="237"/>
                  </a:lnTo>
                  <a:lnTo>
                    <a:pt x="260" y="236"/>
                  </a:lnTo>
                  <a:lnTo>
                    <a:pt x="2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4121;p113">
              <a:extLst>
                <a:ext uri="{FF2B5EF4-FFF2-40B4-BE49-F238E27FC236}">
                  <a16:creationId xmlns:a16="http://schemas.microsoft.com/office/drawing/2014/main" xmlns="" id="{C51DA526-76A5-184C-9121-D356E68BAAEB}"/>
                </a:ext>
              </a:extLst>
            </p:cNvPr>
            <p:cNvSpPr/>
            <p:nvPr/>
          </p:nvSpPr>
          <p:spPr>
            <a:xfrm>
              <a:off x="570" y="3644"/>
              <a:ext cx="55" cy="55"/>
            </a:xfrm>
            <a:custGeom>
              <a:avLst/>
              <a:gdLst/>
              <a:ahLst/>
              <a:cxnLst/>
              <a:rect l="l" t="t" r="r" b="b"/>
              <a:pathLst>
                <a:path w="92" h="91" extrusionOk="0">
                  <a:moveTo>
                    <a:pt x="67" y="0"/>
                  </a:moveTo>
                  <a:lnTo>
                    <a:pt x="67" y="0"/>
                  </a:lnTo>
                  <a:lnTo>
                    <a:pt x="0" y="67"/>
                  </a:lnTo>
                  <a:lnTo>
                    <a:pt x="24" y="91"/>
                  </a:lnTo>
                  <a:lnTo>
                    <a:pt x="91" y="25"/>
                  </a:lnTo>
                  <a:lnTo>
                    <a:pt x="92" y="2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4122;p113">
              <a:extLst>
                <a:ext uri="{FF2B5EF4-FFF2-40B4-BE49-F238E27FC236}">
                  <a16:creationId xmlns:a16="http://schemas.microsoft.com/office/drawing/2014/main" xmlns="" id="{3104D039-C421-604A-A469-DEFEC9104633}"/>
                </a:ext>
              </a:extLst>
            </p:cNvPr>
            <p:cNvSpPr/>
            <p:nvPr/>
          </p:nvSpPr>
          <p:spPr>
            <a:xfrm>
              <a:off x="649" y="3644"/>
              <a:ext cx="87" cy="87"/>
            </a:xfrm>
            <a:custGeom>
              <a:avLst/>
              <a:gdLst/>
              <a:ahLst/>
              <a:cxnLst/>
              <a:rect l="l" t="t" r="r" b="b"/>
              <a:pathLst>
                <a:path w="145" h="145" extrusionOk="0">
                  <a:moveTo>
                    <a:pt x="25" y="1"/>
                  </a:moveTo>
                  <a:lnTo>
                    <a:pt x="25" y="1"/>
                  </a:lnTo>
                  <a:lnTo>
                    <a:pt x="24" y="0"/>
                  </a:lnTo>
                  <a:lnTo>
                    <a:pt x="1" y="23"/>
                  </a:lnTo>
                  <a:lnTo>
                    <a:pt x="0" y="24"/>
                  </a:lnTo>
                  <a:lnTo>
                    <a:pt x="119" y="144"/>
                  </a:lnTo>
                  <a:lnTo>
                    <a:pt x="120" y="145"/>
                  </a:lnTo>
                  <a:lnTo>
                    <a:pt x="144" y="122"/>
                  </a:lnTo>
                  <a:lnTo>
                    <a:pt x="145" y="121"/>
                  </a:lnTo>
                  <a:lnTo>
                    <a:pt x="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4127;p113">
              <a:extLst>
                <a:ext uri="{FF2B5EF4-FFF2-40B4-BE49-F238E27FC236}">
                  <a16:creationId xmlns:a16="http://schemas.microsoft.com/office/drawing/2014/main" xmlns="" id="{01730295-F335-1B4E-AA90-50C82A091DB8}"/>
                </a:ext>
              </a:extLst>
            </p:cNvPr>
            <p:cNvSpPr/>
            <p:nvPr/>
          </p:nvSpPr>
          <p:spPr>
            <a:xfrm>
              <a:off x="340" y="3493"/>
              <a:ext cx="76" cy="75"/>
            </a:xfrm>
            <a:custGeom>
              <a:avLst/>
              <a:gdLst/>
              <a:ahLst/>
              <a:cxnLst/>
              <a:rect l="l" t="t" r="r" b="b"/>
              <a:pathLst>
                <a:path w="126" h="125" extrusionOk="0">
                  <a:moveTo>
                    <a:pt x="91" y="62"/>
                  </a:moveTo>
                  <a:lnTo>
                    <a:pt x="91" y="62"/>
                  </a:lnTo>
                  <a:cubicBezTo>
                    <a:pt x="91" y="78"/>
                    <a:pt x="79" y="91"/>
                    <a:pt x="63" y="91"/>
                  </a:cubicBezTo>
                  <a:cubicBezTo>
                    <a:pt x="47" y="91"/>
                    <a:pt x="34" y="78"/>
                    <a:pt x="34" y="62"/>
                  </a:cubicBezTo>
                  <a:cubicBezTo>
                    <a:pt x="34" y="46"/>
                    <a:pt x="47" y="33"/>
                    <a:pt x="63" y="33"/>
                  </a:cubicBezTo>
                  <a:cubicBezTo>
                    <a:pt x="79" y="33"/>
                    <a:pt x="91" y="46"/>
                    <a:pt x="91" y="62"/>
                  </a:cubicBezTo>
                  <a:close/>
                  <a:moveTo>
                    <a:pt x="63" y="0"/>
                  </a:moveTo>
                  <a:lnTo>
                    <a:pt x="63" y="0"/>
                  </a:lnTo>
                  <a:cubicBezTo>
                    <a:pt x="28" y="0"/>
                    <a:pt x="0" y="27"/>
                    <a:pt x="0" y="62"/>
                  </a:cubicBezTo>
                  <a:cubicBezTo>
                    <a:pt x="0" y="97"/>
                    <a:pt x="28" y="125"/>
                    <a:pt x="63" y="125"/>
                  </a:cubicBezTo>
                  <a:cubicBezTo>
                    <a:pt x="98" y="125"/>
                    <a:pt x="126" y="97"/>
                    <a:pt x="126" y="62"/>
                  </a:cubicBezTo>
                  <a:cubicBezTo>
                    <a:pt x="126" y="27"/>
                    <a:pt x="98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4128;p113">
              <a:extLst>
                <a:ext uri="{FF2B5EF4-FFF2-40B4-BE49-F238E27FC236}">
                  <a16:creationId xmlns:a16="http://schemas.microsoft.com/office/drawing/2014/main" xmlns="" id="{ACE52F70-835E-8B4F-8557-84C155B9F738}"/>
                </a:ext>
              </a:extLst>
            </p:cNvPr>
            <p:cNvSpPr/>
            <p:nvPr/>
          </p:nvSpPr>
          <p:spPr>
            <a:xfrm>
              <a:off x="710" y="3705"/>
              <a:ext cx="76" cy="76"/>
            </a:xfrm>
            <a:custGeom>
              <a:avLst/>
              <a:gdLst/>
              <a:ahLst/>
              <a:cxnLst/>
              <a:rect l="l" t="t" r="r" b="b"/>
              <a:pathLst>
                <a:path w="126" h="127" extrusionOk="0">
                  <a:moveTo>
                    <a:pt x="92" y="64"/>
                  </a:moveTo>
                  <a:lnTo>
                    <a:pt x="92" y="64"/>
                  </a:lnTo>
                  <a:cubicBezTo>
                    <a:pt x="92" y="79"/>
                    <a:pt x="79" y="92"/>
                    <a:pt x="63" y="92"/>
                  </a:cubicBezTo>
                  <a:cubicBezTo>
                    <a:pt x="47" y="92"/>
                    <a:pt x="34" y="79"/>
                    <a:pt x="34" y="64"/>
                  </a:cubicBezTo>
                  <a:cubicBezTo>
                    <a:pt x="34" y="48"/>
                    <a:pt x="47" y="35"/>
                    <a:pt x="63" y="35"/>
                  </a:cubicBezTo>
                  <a:cubicBezTo>
                    <a:pt x="79" y="35"/>
                    <a:pt x="92" y="48"/>
                    <a:pt x="92" y="64"/>
                  </a:cubicBezTo>
                  <a:close/>
                  <a:moveTo>
                    <a:pt x="63" y="0"/>
                  </a:moveTo>
                  <a:lnTo>
                    <a:pt x="63" y="0"/>
                  </a:lnTo>
                  <a:cubicBezTo>
                    <a:pt x="28" y="0"/>
                    <a:pt x="0" y="29"/>
                    <a:pt x="0" y="64"/>
                  </a:cubicBezTo>
                  <a:cubicBezTo>
                    <a:pt x="0" y="98"/>
                    <a:pt x="28" y="127"/>
                    <a:pt x="63" y="127"/>
                  </a:cubicBezTo>
                  <a:cubicBezTo>
                    <a:pt x="98" y="127"/>
                    <a:pt x="126" y="98"/>
                    <a:pt x="126" y="64"/>
                  </a:cubicBezTo>
                  <a:cubicBezTo>
                    <a:pt x="126" y="29"/>
                    <a:pt x="98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4129;p113">
              <a:extLst>
                <a:ext uri="{FF2B5EF4-FFF2-40B4-BE49-F238E27FC236}">
                  <a16:creationId xmlns:a16="http://schemas.microsoft.com/office/drawing/2014/main" xmlns="" id="{45D8429D-92B6-F941-A038-06AB8AB476B0}"/>
                </a:ext>
              </a:extLst>
            </p:cNvPr>
            <p:cNvSpPr/>
            <p:nvPr/>
          </p:nvSpPr>
          <p:spPr>
            <a:xfrm>
              <a:off x="599" y="3594"/>
              <a:ext cx="76" cy="76"/>
            </a:xfrm>
            <a:custGeom>
              <a:avLst/>
              <a:gdLst/>
              <a:ahLst/>
              <a:cxnLst/>
              <a:rect l="l" t="t" r="r" b="b"/>
              <a:pathLst>
                <a:path w="127" h="127" extrusionOk="0">
                  <a:moveTo>
                    <a:pt x="92" y="64"/>
                  </a:moveTo>
                  <a:lnTo>
                    <a:pt x="92" y="64"/>
                  </a:lnTo>
                  <a:cubicBezTo>
                    <a:pt x="92" y="79"/>
                    <a:pt x="79" y="92"/>
                    <a:pt x="63" y="92"/>
                  </a:cubicBezTo>
                  <a:cubicBezTo>
                    <a:pt x="47" y="92"/>
                    <a:pt x="35" y="79"/>
                    <a:pt x="35" y="64"/>
                  </a:cubicBezTo>
                  <a:cubicBezTo>
                    <a:pt x="35" y="48"/>
                    <a:pt x="47" y="35"/>
                    <a:pt x="63" y="35"/>
                  </a:cubicBezTo>
                  <a:cubicBezTo>
                    <a:pt x="79" y="35"/>
                    <a:pt x="92" y="48"/>
                    <a:pt x="92" y="64"/>
                  </a:cubicBezTo>
                  <a:close/>
                  <a:moveTo>
                    <a:pt x="63" y="0"/>
                  </a:moveTo>
                  <a:lnTo>
                    <a:pt x="63" y="0"/>
                  </a:lnTo>
                  <a:cubicBezTo>
                    <a:pt x="28" y="0"/>
                    <a:pt x="0" y="29"/>
                    <a:pt x="0" y="64"/>
                  </a:cubicBezTo>
                  <a:cubicBezTo>
                    <a:pt x="0" y="98"/>
                    <a:pt x="28" y="127"/>
                    <a:pt x="63" y="127"/>
                  </a:cubicBezTo>
                  <a:cubicBezTo>
                    <a:pt x="98" y="127"/>
                    <a:pt x="127" y="98"/>
                    <a:pt x="127" y="64"/>
                  </a:cubicBezTo>
                  <a:cubicBezTo>
                    <a:pt x="127" y="29"/>
                    <a:pt x="98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4130;p113">
              <a:extLst>
                <a:ext uri="{FF2B5EF4-FFF2-40B4-BE49-F238E27FC236}">
                  <a16:creationId xmlns:a16="http://schemas.microsoft.com/office/drawing/2014/main" xmlns="" id="{C8677550-057F-DE4C-A55C-D14ADA8C5937}"/>
                </a:ext>
              </a:extLst>
            </p:cNvPr>
            <p:cNvSpPr/>
            <p:nvPr/>
          </p:nvSpPr>
          <p:spPr>
            <a:xfrm>
              <a:off x="520" y="3673"/>
              <a:ext cx="76" cy="76"/>
            </a:xfrm>
            <a:custGeom>
              <a:avLst/>
              <a:gdLst/>
              <a:ahLst/>
              <a:cxnLst/>
              <a:rect l="l" t="t" r="r" b="b"/>
              <a:pathLst>
                <a:path w="126" h="126" extrusionOk="0">
                  <a:moveTo>
                    <a:pt x="92" y="63"/>
                  </a:moveTo>
                  <a:lnTo>
                    <a:pt x="92" y="63"/>
                  </a:lnTo>
                  <a:cubicBezTo>
                    <a:pt x="92" y="79"/>
                    <a:pt x="79" y="92"/>
                    <a:pt x="63" y="92"/>
                  </a:cubicBezTo>
                  <a:cubicBezTo>
                    <a:pt x="47" y="92"/>
                    <a:pt x="34" y="79"/>
                    <a:pt x="34" y="63"/>
                  </a:cubicBezTo>
                  <a:cubicBezTo>
                    <a:pt x="34" y="47"/>
                    <a:pt x="47" y="34"/>
                    <a:pt x="63" y="34"/>
                  </a:cubicBezTo>
                  <a:cubicBezTo>
                    <a:pt x="79" y="34"/>
                    <a:pt x="92" y="47"/>
                    <a:pt x="92" y="63"/>
                  </a:cubicBezTo>
                  <a:close/>
                  <a:moveTo>
                    <a:pt x="63" y="0"/>
                  </a:moveTo>
                  <a:lnTo>
                    <a:pt x="63" y="0"/>
                  </a:lnTo>
                  <a:cubicBezTo>
                    <a:pt x="28" y="0"/>
                    <a:pt x="0" y="28"/>
                    <a:pt x="0" y="63"/>
                  </a:cubicBezTo>
                  <a:cubicBezTo>
                    <a:pt x="0" y="98"/>
                    <a:pt x="28" y="126"/>
                    <a:pt x="63" y="126"/>
                  </a:cubicBezTo>
                  <a:cubicBezTo>
                    <a:pt x="98" y="126"/>
                    <a:pt x="126" y="98"/>
                    <a:pt x="126" y="63"/>
                  </a:cubicBezTo>
                  <a:cubicBezTo>
                    <a:pt x="126" y="28"/>
                    <a:pt x="98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3" name="Google Shape;4352;p115">
            <a:extLst>
              <a:ext uri="{FF2B5EF4-FFF2-40B4-BE49-F238E27FC236}">
                <a16:creationId xmlns:a16="http://schemas.microsoft.com/office/drawing/2014/main" xmlns="" id="{EFB9FA2B-CB8D-FE49-98A8-206658AEB2ED}"/>
              </a:ext>
            </a:extLst>
          </p:cNvPr>
          <p:cNvSpPr/>
          <p:nvPr/>
        </p:nvSpPr>
        <p:spPr>
          <a:xfrm>
            <a:off x="1371199" y="2535617"/>
            <a:ext cx="819605" cy="821375"/>
          </a:xfrm>
          <a:custGeom>
            <a:avLst/>
            <a:gdLst/>
            <a:ahLst/>
            <a:cxnLst/>
            <a:rect l="l" t="t" r="r" b="b"/>
            <a:pathLst>
              <a:path w="760" h="761" extrusionOk="0">
                <a:moveTo>
                  <a:pt x="103" y="449"/>
                </a:moveTo>
                <a:lnTo>
                  <a:pt x="103" y="449"/>
                </a:lnTo>
                <a:lnTo>
                  <a:pt x="103" y="449"/>
                </a:lnTo>
                <a:cubicBezTo>
                  <a:pt x="103" y="449"/>
                  <a:pt x="103" y="449"/>
                  <a:pt x="103" y="449"/>
                </a:cubicBezTo>
                <a:lnTo>
                  <a:pt x="103" y="449"/>
                </a:lnTo>
                <a:close/>
                <a:moveTo>
                  <a:pt x="301" y="400"/>
                </a:moveTo>
                <a:lnTo>
                  <a:pt x="301" y="400"/>
                </a:lnTo>
                <a:lnTo>
                  <a:pt x="286" y="384"/>
                </a:lnTo>
                <a:lnTo>
                  <a:pt x="292" y="365"/>
                </a:lnTo>
                <a:lnTo>
                  <a:pt x="320" y="393"/>
                </a:lnTo>
                <a:lnTo>
                  <a:pt x="301" y="400"/>
                </a:lnTo>
                <a:close/>
                <a:moveTo>
                  <a:pt x="81" y="437"/>
                </a:moveTo>
                <a:lnTo>
                  <a:pt x="81" y="437"/>
                </a:lnTo>
                <a:lnTo>
                  <a:pt x="81" y="437"/>
                </a:lnTo>
                <a:lnTo>
                  <a:pt x="81" y="437"/>
                </a:lnTo>
                <a:lnTo>
                  <a:pt x="81" y="437"/>
                </a:lnTo>
                <a:close/>
                <a:moveTo>
                  <a:pt x="75" y="435"/>
                </a:moveTo>
                <a:lnTo>
                  <a:pt x="75" y="435"/>
                </a:lnTo>
                <a:cubicBezTo>
                  <a:pt x="75" y="435"/>
                  <a:pt x="75" y="437"/>
                  <a:pt x="75" y="438"/>
                </a:cubicBezTo>
                <a:lnTo>
                  <a:pt x="75" y="502"/>
                </a:lnTo>
                <a:cubicBezTo>
                  <a:pt x="60" y="505"/>
                  <a:pt x="46" y="512"/>
                  <a:pt x="33" y="522"/>
                </a:cubicBezTo>
                <a:lnTo>
                  <a:pt x="33" y="126"/>
                </a:lnTo>
                <a:cubicBezTo>
                  <a:pt x="33" y="100"/>
                  <a:pt x="51" y="78"/>
                  <a:pt x="75" y="70"/>
                </a:cubicBezTo>
                <a:lnTo>
                  <a:pt x="75" y="435"/>
                </a:lnTo>
                <a:close/>
                <a:moveTo>
                  <a:pt x="31" y="572"/>
                </a:moveTo>
                <a:lnTo>
                  <a:pt x="31" y="572"/>
                </a:lnTo>
                <a:lnTo>
                  <a:pt x="31" y="572"/>
                </a:lnTo>
                <a:lnTo>
                  <a:pt x="37" y="573"/>
                </a:lnTo>
                <a:lnTo>
                  <a:pt x="39" y="568"/>
                </a:lnTo>
                <a:cubicBezTo>
                  <a:pt x="47" y="551"/>
                  <a:pt x="62" y="540"/>
                  <a:pt x="80" y="536"/>
                </a:cubicBezTo>
                <a:cubicBezTo>
                  <a:pt x="81" y="536"/>
                  <a:pt x="82" y="536"/>
                  <a:pt x="84" y="535"/>
                </a:cubicBezTo>
                <a:lnTo>
                  <a:pt x="89" y="535"/>
                </a:lnTo>
                <a:cubicBezTo>
                  <a:pt x="90" y="535"/>
                  <a:pt x="91" y="535"/>
                  <a:pt x="92" y="535"/>
                </a:cubicBezTo>
                <a:cubicBezTo>
                  <a:pt x="101" y="535"/>
                  <a:pt x="109" y="527"/>
                  <a:pt x="109" y="518"/>
                </a:cubicBezTo>
                <a:lnTo>
                  <a:pt x="109" y="452"/>
                </a:lnTo>
                <a:cubicBezTo>
                  <a:pt x="109" y="451"/>
                  <a:pt x="109" y="450"/>
                  <a:pt x="109" y="449"/>
                </a:cubicBezTo>
                <a:lnTo>
                  <a:pt x="109" y="188"/>
                </a:lnTo>
                <a:lnTo>
                  <a:pt x="408" y="188"/>
                </a:lnTo>
                <a:lnTo>
                  <a:pt x="273" y="322"/>
                </a:lnTo>
                <a:cubicBezTo>
                  <a:pt x="273" y="322"/>
                  <a:pt x="272" y="323"/>
                  <a:pt x="272" y="323"/>
                </a:cubicBezTo>
                <a:lnTo>
                  <a:pt x="270" y="326"/>
                </a:lnTo>
                <a:cubicBezTo>
                  <a:pt x="270" y="327"/>
                  <a:pt x="270" y="327"/>
                  <a:pt x="270" y="327"/>
                </a:cubicBezTo>
                <a:lnTo>
                  <a:pt x="270" y="328"/>
                </a:lnTo>
                <a:lnTo>
                  <a:pt x="269" y="328"/>
                </a:lnTo>
                <a:lnTo>
                  <a:pt x="269" y="328"/>
                </a:lnTo>
                <a:lnTo>
                  <a:pt x="234" y="428"/>
                </a:lnTo>
                <a:lnTo>
                  <a:pt x="202" y="428"/>
                </a:lnTo>
                <a:cubicBezTo>
                  <a:pt x="193" y="428"/>
                  <a:pt x="185" y="436"/>
                  <a:pt x="185" y="445"/>
                </a:cubicBezTo>
                <a:cubicBezTo>
                  <a:pt x="185" y="454"/>
                  <a:pt x="193" y="462"/>
                  <a:pt x="202" y="462"/>
                </a:cubicBezTo>
                <a:lnTo>
                  <a:pt x="440" y="462"/>
                </a:lnTo>
                <a:cubicBezTo>
                  <a:pt x="449" y="462"/>
                  <a:pt x="457" y="454"/>
                  <a:pt x="457" y="445"/>
                </a:cubicBezTo>
                <a:cubicBezTo>
                  <a:pt x="457" y="436"/>
                  <a:pt x="449" y="428"/>
                  <a:pt x="440" y="428"/>
                </a:cubicBezTo>
                <a:lnTo>
                  <a:pt x="323" y="428"/>
                </a:lnTo>
                <a:lnTo>
                  <a:pt x="357" y="416"/>
                </a:lnTo>
                <a:lnTo>
                  <a:pt x="358" y="415"/>
                </a:lnTo>
                <a:lnTo>
                  <a:pt x="588" y="188"/>
                </a:lnTo>
                <a:lnTo>
                  <a:pt x="675" y="188"/>
                </a:lnTo>
                <a:lnTo>
                  <a:pt x="675" y="414"/>
                </a:lnTo>
                <a:lnTo>
                  <a:pt x="444" y="644"/>
                </a:lnTo>
                <a:lnTo>
                  <a:pt x="89" y="644"/>
                </a:lnTo>
                <a:cubicBezTo>
                  <a:pt x="59" y="644"/>
                  <a:pt x="34" y="621"/>
                  <a:pt x="34" y="591"/>
                </a:cubicBezTo>
                <a:cubicBezTo>
                  <a:pt x="34" y="590"/>
                  <a:pt x="34" y="588"/>
                  <a:pt x="34" y="586"/>
                </a:cubicBezTo>
                <a:cubicBezTo>
                  <a:pt x="34" y="585"/>
                  <a:pt x="34" y="584"/>
                  <a:pt x="34" y="583"/>
                </a:cubicBezTo>
                <a:lnTo>
                  <a:pt x="37" y="574"/>
                </a:lnTo>
                <a:lnTo>
                  <a:pt x="31" y="572"/>
                </a:lnTo>
                <a:close/>
                <a:moveTo>
                  <a:pt x="456" y="178"/>
                </a:moveTo>
                <a:lnTo>
                  <a:pt x="456" y="178"/>
                </a:lnTo>
                <a:lnTo>
                  <a:pt x="461" y="183"/>
                </a:lnTo>
                <a:lnTo>
                  <a:pt x="564" y="79"/>
                </a:lnTo>
                <a:lnTo>
                  <a:pt x="606" y="121"/>
                </a:lnTo>
                <a:lnTo>
                  <a:pt x="351" y="376"/>
                </a:lnTo>
                <a:lnTo>
                  <a:pt x="309" y="334"/>
                </a:lnTo>
                <a:lnTo>
                  <a:pt x="461" y="183"/>
                </a:lnTo>
                <a:lnTo>
                  <a:pt x="456" y="178"/>
                </a:lnTo>
                <a:close/>
                <a:moveTo>
                  <a:pt x="712" y="521"/>
                </a:moveTo>
                <a:lnTo>
                  <a:pt x="712" y="521"/>
                </a:lnTo>
                <a:lnTo>
                  <a:pt x="726" y="521"/>
                </a:lnTo>
                <a:lnTo>
                  <a:pt x="726" y="542"/>
                </a:lnTo>
                <a:lnTo>
                  <a:pt x="712" y="542"/>
                </a:lnTo>
                <a:cubicBezTo>
                  <a:pt x="703" y="542"/>
                  <a:pt x="695" y="550"/>
                  <a:pt x="695" y="559"/>
                </a:cubicBezTo>
                <a:cubicBezTo>
                  <a:pt x="695" y="568"/>
                  <a:pt x="703" y="576"/>
                  <a:pt x="712" y="576"/>
                </a:cubicBezTo>
                <a:lnTo>
                  <a:pt x="726" y="576"/>
                </a:lnTo>
                <a:lnTo>
                  <a:pt x="726" y="597"/>
                </a:lnTo>
                <a:lnTo>
                  <a:pt x="712" y="597"/>
                </a:lnTo>
                <a:cubicBezTo>
                  <a:pt x="703" y="597"/>
                  <a:pt x="695" y="605"/>
                  <a:pt x="695" y="614"/>
                </a:cubicBezTo>
                <a:cubicBezTo>
                  <a:pt x="695" y="623"/>
                  <a:pt x="703" y="631"/>
                  <a:pt x="712" y="631"/>
                </a:cubicBezTo>
                <a:lnTo>
                  <a:pt x="726" y="631"/>
                </a:lnTo>
                <a:lnTo>
                  <a:pt x="726" y="652"/>
                </a:lnTo>
                <a:lnTo>
                  <a:pt x="712" y="652"/>
                </a:lnTo>
                <a:cubicBezTo>
                  <a:pt x="703" y="652"/>
                  <a:pt x="695" y="660"/>
                  <a:pt x="695" y="669"/>
                </a:cubicBezTo>
                <a:cubicBezTo>
                  <a:pt x="695" y="678"/>
                  <a:pt x="703" y="686"/>
                  <a:pt x="712" y="686"/>
                </a:cubicBezTo>
                <a:lnTo>
                  <a:pt x="726" y="686"/>
                </a:lnTo>
                <a:lnTo>
                  <a:pt x="726" y="726"/>
                </a:lnTo>
                <a:lnTo>
                  <a:pt x="410" y="726"/>
                </a:lnTo>
                <a:lnTo>
                  <a:pt x="542" y="595"/>
                </a:lnTo>
                <a:cubicBezTo>
                  <a:pt x="542" y="595"/>
                  <a:pt x="542" y="595"/>
                  <a:pt x="542" y="595"/>
                </a:cubicBezTo>
                <a:lnTo>
                  <a:pt x="726" y="410"/>
                </a:lnTo>
                <a:lnTo>
                  <a:pt x="726" y="487"/>
                </a:lnTo>
                <a:lnTo>
                  <a:pt x="712" y="487"/>
                </a:lnTo>
                <a:cubicBezTo>
                  <a:pt x="703" y="487"/>
                  <a:pt x="695" y="494"/>
                  <a:pt x="695" y="504"/>
                </a:cubicBezTo>
                <a:cubicBezTo>
                  <a:pt x="695" y="513"/>
                  <a:pt x="703" y="521"/>
                  <a:pt x="712" y="521"/>
                </a:cubicBezTo>
                <a:close/>
                <a:moveTo>
                  <a:pt x="588" y="55"/>
                </a:moveTo>
                <a:lnTo>
                  <a:pt x="588" y="55"/>
                </a:lnTo>
                <a:lnTo>
                  <a:pt x="606" y="38"/>
                </a:lnTo>
                <a:cubicBezTo>
                  <a:pt x="607" y="37"/>
                  <a:pt x="608" y="36"/>
                  <a:pt x="610" y="36"/>
                </a:cubicBezTo>
                <a:cubicBezTo>
                  <a:pt x="611" y="36"/>
                  <a:pt x="612" y="37"/>
                  <a:pt x="614" y="38"/>
                </a:cubicBezTo>
                <a:lnTo>
                  <a:pt x="648" y="72"/>
                </a:lnTo>
                <a:cubicBezTo>
                  <a:pt x="650" y="74"/>
                  <a:pt x="650" y="77"/>
                  <a:pt x="648" y="80"/>
                </a:cubicBezTo>
                <a:lnTo>
                  <a:pt x="630" y="97"/>
                </a:lnTo>
                <a:lnTo>
                  <a:pt x="588" y="55"/>
                </a:lnTo>
                <a:close/>
                <a:moveTo>
                  <a:pt x="750" y="354"/>
                </a:moveTo>
                <a:lnTo>
                  <a:pt x="750" y="354"/>
                </a:lnTo>
                <a:lnTo>
                  <a:pt x="750" y="354"/>
                </a:lnTo>
                <a:cubicBezTo>
                  <a:pt x="744" y="351"/>
                  <a:pt x="736" y="352"/>
                  <a:pt x="731" y="357"/>
                </a:cubicBezTo>
                <a:lnTo>
                  <a:pt x="709" y="380"/>
                </a:lnTo>
                <a:lnTo>
                  <a:pt x="709" y="171"/>
                </a:lnTo>
                <a:cubicBezTo>
                  <a:pt x="709" y="161"/>
                  <a:pt x="701" y="154"/>
                  <a:pt x="692" y="154"/>
                </a:cubicBezTo>
                <a:lnTo>
                  <a:pt x="622" y="154"/>
                </a:lnTo>
                <a:lnTo>
                  <a:pt x="672" y="104"/>
                </a:lnTo>
                <a:cubicBezTo>
                  <a:pt x="679" y="96"/>
                  <a:pt x="683" y="86"/>
                  <a:pt x="683" y="76"/>
                </a:cubicBezTo>
                <a:cubicBezTo>
                  <a:pt x="683" y="65"/>
                  <a:pt x="679" y="55"/>
                  <a:pt x="672" y="48"/>
                </a:cubicBezTo>
                <a:lnTo>
                  <a:pt x="638" y="14"/>
                </a:lnTo>
                <a:cubicBezTo>
                  <a:pt x="623" y="0"/>
                  <a:pt x="597" y="0"/>
                  <a:pt x="582" y="14"/>
                </a:cubicBezTo>
                <a:lnTo>
                  <a:pt x="442" y="154"/>
                </a:lnTo>
                <a:lnTo>
                  <a:pt x="109" y="154"/>
                </a:lnTo>
                <a:lnTo>
                  <a:pt x="109" y="51"/>
                </a:lnTo>
                <a:cubicBezTo>
                  <a:pt x="109" y="41"/>
                  <a:pt x="101" y="34"/>
                  <a:pt x="92" y="34"/>
                </a:cubicBezTo>
                <a:cubicBezTo>
                  <a:pt x="41" y="34"/>
                  <a:pt x="0" y="75"/>
                  <a:pt x="0" y="126"/>
                </a:cubicBezTo>
                <a:lnTo>
                  <a:pt x="0" y="593"/>
                </a:lnTo>
                <a:cubicBezTo>
                  <a:pt x="0" y="594"/>
                  <a:pt x="0" y="596"/>
                  <a:pt x="0" y="596"/>
                </a:cubicBezTo>
                <a:cubicBezTo>
                  <a:pt x="1" y="618"/>
                  <a:pt x="11" y="638"/>
                  <a:pt x="26" y="653"/>
                </a:cubicBezTo>
                <a:cubicBezTo>
                  <a:pt x="43" y="669"/>
                  <a:pt x="65" y="678"/>
                  <a:pt x="89" y="678"/>
                </a:cubicBezTo>
                <a:lnTo>
                  <a:pt x="410" y="678"/>
                </a:lnTo>
                <a:lnTo>
                  <a:pt x="357" y="731"/>
                </a:lnTo>
                <a:cubicBezTo>
                  <a:pt x="352" y="736"/>
                  <a:pt x="351" y="744"/>
                  <a:pt x="353" y="750"/>
                </a:cubicBezTo>
                <a:cubicBezTo>
                  <a:pt x="356" y="756"/>
                  <a:pt x="362" y="761"/>
                  <a:pt x="369" y="761"/>
                </a:cubicBezTo>
                <a:lnTo>
                  <a:pt x="743" y="761"/>
                </a:lnTo>
                <a:cubicBezTo>
                  <a:pt x="753" y="761"/>
                  <a:pt x="760" y="753"/>
                  <a:pt x="760" y="743"/>
                </a:cubicBezTo>
                <a:lnTo>
                  <a:pt x="760" y="369"/>
                </a:lnTo>
                <a:cubicBezTo>
                  <a:pt x="760" y="362"/>
                  <a:pt x="756" y="356"/>
                  <a:pt x="750" y="354"/>
                </a:cubicBezTo>
                <a:close/>
              </a:path>
            </a:pathLst>
          </a:custGeom>
          <a:solidFill>
            <a:srgbClr val="7DFF45"/>
          </a:solidFill>
          <a:ln w="3175"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pic>
        <p:nvPicPr>
          <p:cNvPr id="44" name="Imagen 43">
            <a:extLst>
              <a:ext uri="{FF2B5EF4-FFF2-40B4-BE49-F238E27FC236}">
                <a16:creationId xmlns:a16="http://schemas.microsoft.com/office/drawing/2014/main" xmlns="" id="{DDA4B64C-5FA1-4840-A15C-39EAC41DA4B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326530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30">
            <a:extLst>
              <a:ext uri="{FF2B5EF4-FFF2-40B4-BE49-F238E27FC236}">
                <a16:creationId xmlns:a16="http://schemas.microsoft.com/office/drawing/2014/main" xmlns="" id="{BE96C7B3-CEB8-5146-8E17-988C5DF24B31}"/>
              </a:ext>
            </a:extLst>
          </p:cNvPr>
          <p:cNvSpPr txBox="1">
            <a:spLocks/>
          </p:cNvSpPr>
          <p:nvPr/>
        </p:nvSpPr>
        <p:spPr>
          <a:xfrm>
            <a:off x="312745" y="320574"/>
            <a:ext cx="5422711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b="1" dirty="0" smtClean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Actividad 1: </a:t>
            </a:r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aplicación del ODE</a:t>
            </a:r>
          </a:p>
        </p:txBody>
      </p:sp>
      <p:sp>
        <p:nvSpPr>
          <p:cNvPr id="42" name="Google Shape;1428;p39">
            <a:extLst>
              <a:ext uri="{FF2B5EF4-FFF2-40B4-BE49-F238E27FC236}">
                <a16:creationId xmlns:a16="http://schemas.microsoft.com/office/drawing/2014/main" xmlns="" id="{54565582-365A-3C45-900F-03DF922B31C2}"/>
              </a:ext>
            </a:extLst>
          </p:cNvPr>
          <p:cNvSpPr/>
          <p:nvPr/>
        </p:nvSpPr>
        <p:spPr>
          <a:xfrm>
            <a:off x="1415480" y="1241563"/>
            <a:ext cx="6392739" cy="1323812"/>
          </a:xfrm>
          <a:prstGeom prst="rect">
            <a:avLst/>
          </a:prstGeom>
          <a:solidFill>
            <a:srgbClr val="15C045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 marL="0" marR="0" lvl="0" indent="0" algn="l" rtl="0">
              <a:spcBef>
                <a:spcPts val="400"/>
              </a:spcBef>
              <a:spcAft>
                <a:spcPts val="0"/>
              </a:spcAft>
              <a:buNone/>
            </a:pPr>
            <a:endParaRPr dirty="0">
              <a:latin typeface="ACHS Nueva Sans" pitchFamily="2" charset="0"/>
            </a:endParaRPr>
          </a:p>
        </p:txBody>
      </p:sp>
      <p:sp>
        <p:nvSpPr>
          <p:cNvPr id="43" name="Google Shape;1431;p39">
            <a:extLst>
              <a:ext uri="{FF2B5EF4-FFF2-40B4-BE49-F238E27FC236}">
                <a16:creationId xmlns:a16="http://schemas.microsoft.com/office/drawing/2014/main" xmlns="" id="{2FD6F853-1FCD-4643-B823-DEDA032DAE88}"/>
              </a:ext>
            </a:extLst>
          </p:cNvPr>
          <p:cNvSpPr/>
          <p:nvPr/>
        </p:nvSpPr>
        <p:spPr>
          <a:xfrm>
            <a:off x="761511" y="1197223"/>
            <a:ext cx="1439689" cy="1439689"/>
          </a:xfrm>
          <a:prstGeom prst="ellipse">
            <a:avLst/>
          </a:prstGeom>
          <a:solidFill>
            <a:srgbClr val="004C1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xmlns="" id="{E645A021-4A3C-AF44-97FA-F817D3FEC4DB}"/>
              </a:ext>
            </a:extLst>
          </p:cNvPr>
          <p:cNvSpPr/>
          <p:nvPr/>
        </p:nvSpPr>
        <p:spPr>
          <a:xfrm>
            <a:off x="2201200" y="1455968"/>
            <a:ext cx="382279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03113">
              <a:defRPr/>
            </a:pPr>
            <a:r>
              <a:rPr lang="es-ES_tradnl" sz="1600" b="1" u="sng" dirty="0">
                <a:solidFill>
                  <a:schemeClr val="bg1">
                    <a:lumMod val="9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Paso 3</a:t>
            </a:r>
          </a:p>
          <a:p>
            <a:pPr defTabSz="903113">
              <a:defRPr/>
            </a:pPr>
            <a:r>
              <a:rPr lang="es-ES_tradnl" sz="1600" dirty="0">
                <a:solidFill>
                  <a:prstClr val="white"/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Marca el o los lugares donde podrías estar expuestos a un accidente.</a:t>
            </a:r>
          </a:p>
          <a:p>
            <a:pPr defTabSz="903113">
              <a:defRPr/>
            </a:pPr>
            <a:endParaRPr lang="es-ES_tradnl" sz="1600" b="1" u="sng" dirty="0">
              <a:solidFill>
                <a:schemeClr val="bg1">
                  <a:lumMod val="95000"/>
                </a:schemeClr>
              </a:solidFill>
              <a:latin typeface="ACHS Nueva Sans" pitchFamily="2" charset="0"/>
              <a:ea typeface="Constantia" panose="02030602050306030303" pitchFamily="18" charset="0"/>
              <a:cs typeface="Arial" panose="020B0604020202020204" pitchFamily="34" charset="0"/>
            </a:endParaRPr>
          </a:p>
        </p:txBody>
      </p:sp>
      <p:sp>
        <p:nvSpPr>
          <p:cNvPr id="48" name="Google Shape;1428;p39">
            <a:extLst>
              <a:ext uri="{FF2B5EF4-FFF2-40B4-BE49-F238E27FC236}">
                <a16:creationId xmlns:a16="http://schemas.microsoft.com/office/drawing/2014/main" xmlns="" id="{05FC0B6D-E92C-0742-94AD-1D2E32B2F8C1}"/>
              </a:ext>
            </a:extLst>
          </p:cNvPr>
          <p:cNvSpPr/>
          <p:nvPr/>
        </p:nvSpPr>
        <p:spPr>
          <a:xfrm>
            <a:off x="3143672" y="3130838"/>
            <a:ext cx="6392739" cy="1323812"/>
          </a:xfrm>
          <a:prstGeom prst="rect">
            <a:avLst/>
          </a:prstGeom>
          <a:solidFill>
            <a:srgbClr val="15C045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 marL="0" marR="0" lvl="0" indent="0" algn="l" rtl="0">
              <a:spcBef>
                <a:spcPts val="400"/>
              </a:spcBef>
              <a:spcAft>
                <a:spcPts val="0"/>
              </a:spcAft>
              <a:buNone/>
            </a:pPr>
            <a:endParaRPr dirty="0">
              <a:latin typeface="ACHS Nueva Sans" pitchFamily="2" charset="0"/>
            </a:endParaRP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xmlns="" id="{46C7135E-A7FB-8947-B0C2-355346EC0116}"/>
              </a:ext>
            </a:extLst>
          </p:cNvPr>
          <p:cNvSpPr/>
          <p:nvPr/>
        </p:nvSpPr>
        <p:spPr>
          <a:xfrm>
            <a:off x="3929392" y="3390838"/>
            <a:ext cx="3379809" cy="8297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03113">
              <a:defRPr/>
            </a:pPr>
            <a:r>
              <a:rPr lang="es-ES_tradnl" sz="1600" b="1" u="sng" dirty="0">
                <a:solidFill>
                  <a:schemeClr val="bg1">
                    <a:lumMod val="9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Paso 4</a:t>
            </a:r>
          </a:p>
          <a:p>
            <a:pPr defTabSz="903113">
              <a:defRPr/>
            </a:pPr>
            <a:r>
              <a:rPr lang="es-ES_tradnl" sz="1600" dirty="0">
                <a:solidFill>
                  <a:prstClr val="white"/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Aplica las tres preguntas del ODE.</a:t>
            </a:r>
          </a:p>
          <a:p>
            <a:pPr defTabSz="903113">
              <a:defRPr/>
            </a:pPr>
            <a:endParaRPr lang="es-ES_tradnl" sz="1600" dirty="0">
              <a:solidFill>
                <a:schemeClr val="bg1">
                  <a:lumMod val="95000"/>
                </a:schemeClr>
              </a:solidFill>
              <a:latin typeface="ACHS Nueva Sans" pitchFamily="2" charset="0"/>
              <a:ea typeface="Constantia" panose="02030602050306030303" pitchFamily="18" charset="0"/>
              <a:cs typeface="Arial" panose="020B0604020202020204" pitchFamily="34" charset="0"/>
            </a:endParaRPr>
          </a:p>
        </p:txBody>
      </p:sp>
      <p:sp>
        <p:nvSpPr>
          <p:cNvPr id="50" name="Google Shape;1431;p39">
            <a:extLst>
              <a:ext uri="{FF2B5EF4-FFF2-40B4-BE49-F238E27FC236}">
                <a16:creationId xmlns:a16="http://schemas.microsoft.com/office/drawing/2014/main" xmlns="" id="{B795D3E6-F8EC-FB4B-BCB7-26C5CF5F2167}"/>
              </a:ext>
            </a:extLst>
          </p:cNvPr>
          <p:cNvSpPr/>
          <p:nvPr/>
        </p:nvSpPr>
        <p:spPr>
          <a:xfrm>
            <a:off x="2423827" y="3068960"/>
            <a:ext cx="1439689" cy="1439689"/>
          </a:xfrm>
          <a:prstGeom prst="ellipse">
            <a:avLst/>
          </a:prstGeom>
          <a:solidFill>
            <a:srgbClr val="004C1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59" name="Google Shape;4086;p113">
            <a:extLst>
              <a:ext uri="{FF2B5EF4-FFF2-40B4-BE49-F238E27FC236}">
                <a16:creationId xmlns:a16="http://schemas.microsoft.com/office/drawing/2014/main" xmlns="" id="{6E19D150-CCCA-D342-B5BC-06376CF64174}"/>
              </a:ext>
            </a:extLst>
          </p:cNvPr>
          <p:cNvGrpSpPr/>
          <p:nvPr/>
        </p:nvGrpSpPr>
        <p:grpSpPr>
          <a:xfrm>
            <a:off x="1080037" y="1519723"/>
            <a:ext cx="767491" cy="767491"/>
            <a:chOff x="1091" y="2665"/>
            <a:chExt cx="422" cy="422"/>
          </a:xfrm>
          <a:solidFill>
            <a:srgbClr val="7DFF45"/>
          </a:solidFill>
        </p:grpSpPr>
        <p:sp>
          <p:nvSpPr>
            <p:cNvPr id="60" name="Google Shape;4087;p113">
              <a:extLst>
                <a:ext uri="{FF2B5EF4-FFF2-40B4-BE49-F238E27FC236}">
                  <a16:creationId xmlns:a16="http://schemas.microsoft.com/office/drawing/2014/main" xmlns="" id="{1708CC00-CEA5-F64A-AAAC-EF7AF2A2B3A7}"/>
                </a:ext>
              </a:extLst>
            </p:cNvPr>
            <p:cNvSpPr/>
            <p:nvPr/>
          </p:nvSpPr>
          <p:spPr>
            <a:xfrm>
              <a:off x="1091" y="2665"/>
              <a:ext cx="422" cy="422"/>
            </a:xfrm>
            <a:custGeom>
              <a:avLst/>
              <a:gdLst/>
              <a:ahLst/>
              <a:cxnLst/>
              <a:rect l="l" t="t" r="r" b="b"/>
              <a:pathLst>
                <a:path w="691" h="691" extrusionOk="0">
                  <a:moveTo>
                    <a:pt x="675" y="235"/>
                  </a:moveTo>
                  <a:lnTo>
                    <a:pt x="675" y="235"/>
                  </a:lnTo>
                  <a:cubicBezTo>
                    <a:pt x="667" y="235"/>
                    <a:pt x="660" y="242"/>
                    <a:pt x="660" y="250"/>
                  </a:cubicBezTo>
                  <a:lnTo>
                    <a:pt x="660" y="596"/>
                  </a:lnTo>
                  <a:cubicBezTo>
                    <a:pt x="660" y="631"/>
                    <a:pt x="631" y="659"/>
                    <a:pt x="597" y="659"/>
                  </a:cubicBezTo>
                  <a:lnTo>
                    <a:pt x="94" y="659"/>
                  </a:lnTo>
                  <a:cubicBezTo>
                    <a:pt x="59" y="659"/>
                    <a:pt x="31" y="631"/>
                    <a:pt x="31" y="596"/>
                  </a:cubicBezTo>
                  <a:lnTo>
                    <a:pt x="31" y="93"/>
                  </a:lnTo>
                  <a:cubicBezTo>
                    <a:pt x="31" y="59"/>
                    <a:pt x="59" y="30"/>
                    <a:pt x="94" y="30"/>
                  </a:cubicBezTo>
                  <a:lnTo>
                    <a:pt x="440" y="30"/>
                  </a:lnTo>
                  <a:cubicBezTo>
                    <a:pt x="448" y="30"/>
                    <a:pt x="455" y="23"/>
                    <a:pt x="455" y="15"/>
                  </a:cubicBezTo>
                  <a:cubicBezTo>
                    <a:pt x="455" y="6"/>
                    <a:pt x="448" y="0"/>
                    <a:pt x="440" y="0"/>
                  </a:cubicBezTo>
                  <a:lnTo>
                    <a:pt x="94" y="0"/>
                  </a:lnTo>
                  <a:cubicBezTo>
                    <a:pt x="42" y="0"/>
                    <a:pt x="0" y="41"/>
                    <a:pt x="0" y="93"/>
                  </a:cubicBezTo>
                  <a:lnTo>
                    <a:pt x="0" y="596"/>
                  </a:lnTo>
                  <a:cubicBezTo>
                    <a:pt x="0" y="648"/>
                    <a:pt x="42" y="691"/>
                    <a:pt x="94" y="691"/>
                  </a:cubicBezTo>
                  <a:lnTo>
                    <a:pt x="597" y="691"/>
                  </a:lnTo>
                  <a:cubicBezTo>
                    <a:pt x="649" y="691"/>
                    <a:pt x="691" y="648"/>
                    <a:pt x="691" y="596"/>
                  </a:cubicBezTo>
                  <a:lnTo>
                    <a:pt x="691" y="250"/>
                  </a:lnTo>
                  <a:cubicBezTo>
                    <a:pt x="691" y="242"/>
                    <a:pt x="684" y="235"/>
                    <a:pt x="675" y="2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1" name="Google Shape;4088;p113">
              <a:extLst>
                <a:ext uri="{FF2B5EF4-FFF2-40B4-BE49-F238E27FC236}">
                  <a16:creationId xmlns:a16="http://schemas.microsoft.com/office/drawing/2014/main" xmlns="" id="{431B8347-09E9-BC43-81F7-947775CFEB5B}"/>
                </a:ext>
              </a:extLst>
            </p:cNvPr>
            <p:cNvSpPr/>
            <p:nvPr/>
          </p:nvSpPr>
          <p:spPr>
            <a:xfrm>
              <a:off x="1196" y="2665"/>
              <a:ext cx="317" cy="316"/>
            </a:xfrm>
            <a:custGeom>
              <a:avLst/>
              <a:gdLst/>
              <a:ahLst/>
              <a:cxnLst/>
              <a:rect l="l" t="t" r="r" b="b"/>
              <a:pathLst>
                <a:path w="519" h="518" extrusionOk="0">
                  <a:moveTo>
                    <a:pt x="474" y="111"/>
                  </a:moveTo>
                  <a:lnTo>
                    <a:pt x="474" y="111"/>
                  </a:lnTo>
                  <a:lnTo>
                    <a:pt x="454" y="131"/>
                  </a:lnTo>
                  <a:lnTo>
                    <a:pt x="387" y="64"/>
                  </a:lnTo>
                  <a:lnTo>
                    <a:pt x="407" y="44"/>
                  </a:lnTo>
                  <a:cubicBezTo>
                    <a:pt x="416" y="36"/>
                    <a:pt x="427" y="30"/>
                    <a:pt x="440" y="30"/>
                  </a:cubicBezTo>
                  <a:cubicBezTo>
                    <a:pt x="467" y="30"/>
                    <a:pt x="488" y="51"/>
                    <a:pt x="488" y="77"/>
                  </a:cubicBezTo>
                  <a:cubicBezTo>
                    <a:pt x="488" y="91"/>
                    <a:pt x="482" y="102"/>
                    <a:pt x="474" y="111"/>
                  </a:cubicBezTo>
                  <a:close/>
                  <a:moveTo>
                    <a:pt x="142" y="443"/>
                  </a:moveTo>
                  <a:lnTo>
                    <a:pt x="142" y="443"/>
                  </a:lnTo>
                  <a:lnTo>
                    <a:pt x="142" y="376"/>
                  </a:lnTo>
                  <a:lnTo>
                    <a:pt x="75" y="376"/>
                  </a:lnTo>
                  <a:lnTo>
                    <a:pt x="365" y="87"/>
                  </a:lnTo>
                  <a:lnTo>
                    <a:pt x="431" y="153"/>
                  </a:lnTo>
                  <a:lnTo>
                    <a:pt x="142" y="443"/>
                  </a:lnTo>
                  <a:close/>
                  <a:moveTo>
                    <a:pt x="110" y="466"/>
                  </a:moveTo>
                  <a:lnTo>
                    <a:pt x="110" y="466"/>
                  </a:lnTo>
                  <a:lnTo>
                    <a:pt x="40" y="478"/>
                  </a:lnTo>
                  <a:lnTo>
                    <a:pt x="52" y="408"/>
                  </a:lnTo>
                  <a:lnTo>
                    <a:pt x="110" y="408"/>
                  </a:lnTo>
                  <a:lnTo>
                    <a:pt x="110" y="466"/>
                  </a:lnTo>
                  <a:close/>
                  <a:moveTo>
                    <a:pt x="440" y="0"/>
                  </a:moveTo>
                  <a:lnTo>
                    <a:pt x="440" y="0"/>
                  </a:lnTo>
                  <a:cubicBezTo>
                    <a:pt x="419" y="0"/>
                    <a:pt x="399" y="8"/>
                    <a:pt x="385" y="22"/>
                  </a:cubicBezTo>
                  <a:lnTo>
                    <a:pt x="23" y="383"/>
                  </a:lnTo>
                  <a:lnTo>
                    <a:pt x="0" y="518"/>
                  </a:lnTo>
                  <a:lnTo>
                    <a:pt x="135" y="495"/>
                  </a:lnTo>
                  <a:lnTo>
                    <a:pt x="496" y="133"/>
                  </a:lnTo>
                  <a:cubicBezTo>
                    <a:pt x="510" y="119"/>
                    <a:pt x="519" y="99"/>
                    <a:pt x="519" y="77"/>
                  </a:cubicBezTo>
                  <a:cubicBezTo>
                    <a:pt x="519" y="34"/>
                    <a:pt x="484" y="0"/>
                    <a:pt x="4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2" name="Google Shape;3850;p111">
            <a:extLst>
              <a:ext uri="{FF2B5EF4-FFF2-40B4-BE49-F238E27FC236}">
                <a16:creationId xmlns:a16="http://schemas.microsoft.com/office/drawing/2014/main" xmlns="" id="{88B9C17B-BD32-5440-886A-A03A0DD758CF}"/>
              </a:ext>
            </a:extLst>
          </p:cNvPr>
          <p:cNvGrpSpPr/>
          <p:nvPr/>
        </p:nvGrpSpPr>
        <p:grpSpPr>
          <a:xfrm>
            <a:off x="2855640" y="3365735"/>
            <a:ext cx="528638" cy="846138"/>
            <a:chOff x="3686" y="2001"/>
            <a:chExt cx="333" cy="533"/>
          </a:xfrm>
          <a:solidFill>
            <a:srgbClr val="7DFF45"/>
          </a:solidFill>
        </p:grpSpPr>
        <p:sp>
          <p:nvSpPr>
            <p:cNvPr id="63" name="Google Shape;3851;p111">
              <a:extLst>
                <a:ext uri="{FF2B5EF4-FFF2-40B4-BE49-F238E27FC236}">
                  <a16:creationId xmlns:a16="http://schemas.microsoft.com/office/drawing/2014/main" xmlns="" id="{AD28B8A3-9026-784F-8A06-DF6E34075F65}"/>
                </a:ext>
              </a:extLst>
            </p:cNvPr>
            <p:cNvSpPr/>
            <p:nvPr/>
          </p:nvSpPr>
          <p:spPr>
            <a:xfrm>
              <a:off x="3686" y="2001"/>
              <a:ext cx="333" cy="533"/>
            </a:xfrm>
            <a:custGeom>
              <a:avLst/>
              <a:gdLst/>
              <a:ahLst/>
              <a:cxnLst/>
              <a:rect l="l" t="t" r="r" b="b"/>
              <a:pathLst>
                <a:path w="545" h="882" extrusionOk="0">
                  <a:moveTo>
                    <a:pt x="508" y="544"/>
                  </a:moveTo>
                  <a:lnTo>
                    <a:pt x="508" y="544"/>
                  </a:lnTo>
                  <a:cubicBezTo>
                    <a:pt x="508" y="586"/>
                    <a:pt x="502" y="628"/>
                    <a:pt x="489" y="668"/>
                  </a:cubicBezTo>
                  <a:lnTo>
                    <a:pt x="467" y="739"/>
                  </a:lnTo>
                  <a:lnTo>
                    <a:pt x="176" y="739"/>
                  </a:lnTo>
                  <a:lnTo>
                    <a:pt x="114" y="655"/>
                  </a:lnTo>
                  <a:cubicBezTo>
                    <a:pt x="97" y="631"/>
                    <a:pt x="85" y="605"/>
                    <a:pt x="78" y="577"/>
                  </a:cubicBezTo>
                  <a:lnTo>
                    <a:pt x="44" y="435"/>
                  </a:lnTo>
                  <a:cubicBezTo>
                    <a:pt x="41" y="422"/>
                    <a:pt x="47" y="408"/>
                    <a:pt x="59" y="402"/>
                  </a:cubicBezTo>
                  <a:cubicBezTo>
                    <a:pt x="73" y="395"/>
                    <a:pt x="90" y="400"/>
                    <a:pt x="97" y="414"/>
                  </a:cubicBezTo>
                  <a:lnTo>
                    <a:pt x="150" y="512"/>
                  </a:lnTo>
                  <a:cubicBezTo>
                    <a:pt x="154" y="520"/>
                    <a:pt x="163" y="524"/>
                    <a:pt x="171" y="521"/>
                  </a:cubicBezTo>
                  <a:cubicBezTo>
                    <a:pt x="179" y="519"/>
                    <a:pt x="185" y="512"/>
                    <a:pt x="185" y="503"/>
                  </a:cubicBezTo>
                  <a:lnTo>
                    <a:pt x="185" y="408"/>
                  </a:lnTo>
                  <a:cubicBezTo>
                    <a:pt x="185" y="408"/>
                    <a:pt x="185" y="408"/>
                    <a:pt x="185" y="407"/>
                  </a:cubicBezTo>
                  <a:lnTo>
                    <a:pt x="186" y="144"/>
                  </a:lnTo>
                  <a:cubicBezTo>
                    <a:pt x="185" y="134"/>
                    <a:pt x="197" y="119"/>
                    <a:pt x="211" y="119"/>
                  </a:cubicBezTo>
                  <a:cubicBezTo>
                    <a:pt x="226" y="119"/>
                    <a:pt x="238" y="131"/>
                    <a:pt x="238" y="146"/>
                  </a:cubicBezTo>
                  <a:lnTo>
                    <a:pt x="238" y="441"/>
                  </a:lnTo>
                  <a:cubicBezTo>
                    <a:pt x="238" y="451"/>
                    <a:pt x="246" y="460"/>
                    <a:pt x="257" y="460"/>
                  </a:cubicBezTo>
                  <a:cubicBezTo>
                    <a:pt x="267" y="460"/>
                    <a:pt x="275" y="451"/>
                    <a:pt x="275" y="441"/>
                  </a:cubicBezTo>
                  <a:lnTo>
                    <a:pt x="275" y="324"/>
                  </a:lnTo>
                  <a:cubicBezTo>
                    <a:pt x="275" y="310"/>
                    <a:pt x="287" y="298"/>
                    <a:pt x="302" y="298"/>
                  </a:cubicBezTo>
                  <a:cubicBezTo>
                    <a:pt x="316" y="298"/>
                    <a:pt x="328" y="310"/>
                    <a:pt x="328" y="324"/>
                  </a:cubicBezTo>
                  <a:lnTo>
                    <a:pt x="328" y="353"/>
                  </a:lnTo>
                  <a:lnTo>
                    <a:pt x="328" y="369"/>
                  </a:lnTo>
                  <a:lnTo>
                    <a:pt x="328" y="441"/>
                  </a:lnTo>
                  <a:cubicBezTo>
                    <a:pt x="328" y="451"/>
                    <a:pt x="336" y="460"/>
                    <a:pt x="347" y="460"/>
                  </a:cubicBezTo>
                  <a:cubicBezTo>
                    <a:pt x="357" y="460"/>
                    <a:pt x="365" y="451"/>
                    <a:pt x="365" y="441"/>
                  </a:cubicBezTo>
                  <a:lnTo>
                    <a:pt x="365" y="369"/>
                  </a:lnTo>
                  <a:lnTo>
                    <a:pt x="365" y="353"/>
                  </a:lnTo>
                  <a:cubicBezTo>
                    <a:pt x="365" y="339"/>
                    <a:pt x="377" y="327"/>
                    <a:pt x="392" y="327"/>
                  </a:cubicBezTo>
                  <a:cubicBezTo>
                    <a:pt x="406" y="327"/>
                    <a:pt x="418" y="339"/>
                    <a:pt x="418" y="353"/>
                  </a:cubicBezTo>
                  <a:lnTo>
                    <a:pt x="418" y="374"/>
                  </a:lnTo>
                  <a:cubicBezTo>
                    <a:pt x="418" y="376"/>
                    <a:pt x="418" y="377"/>
                    <a:pt x="418" y="378"/>
                  </a:cubicBezTo>
                  <a:cubicBezTo>
                    <a:pt x="418" y="381"/>
                    <a:pt x="418" y="384"/>
                    <a:pt x="418" y="386"/>
                  </a:cubicBezTo>
                  <a:lnTo>
                    <a:pt x="418" y="441"/>
                  </a:lnTo>
                  <a:cubicBezTo>
                    <a:pt x="418" y="451"/>
                    <a:pt x="426" y="460"/>
                    <a:pt x="437" y="460"/>
                  </a:cubicBezTo>
                  <a:cubicBezTo>
                    <a:pt x="447" y="460"/>
                    <a:pt x="455" y="451"/>
                    <a:pt x="455" y="441"/>
                  </a:cubicBezTo>
                  <a:lnTo>
                    <a:pt x="455" y="386"/>
                  </a:lnTo>
                  <a:cubicBezTo>
                    <a:pt x="455" y="372"/>
                    <a:pt x="467" y="360"/>
                    <a:pt x="482" y="360"/>
                  </a:cubicBezTo>
                  <a:cubicBezTo>
                    <a:pt x="496" y="360"/>
                    <a:pt x="508" y="372"/>
                    <a:pt x="508" y="386"/>
                  </a:cubicBezTo>
                  <a:lnTo>
                    <a:pt x="508" y="544"/>
                  </a:lnTo>
                  <a:close/>
                  <a:moveTo>
                    <a:pt x="484" y="844"/>
                  </a:moveTo>
                  <a:lnTo>
                    <a:pt x="484" y="844"/>
                  </a:lnTo>
                  <a:lnTo>
                    <a:pt x="147" y="844"/>
                  </a:lnTo>
                  <a:lnTo>
                    <a:pt x="147" y="777"/>
                  </a:lnTo>
                  <a:lnTo>
                    <a:pt x="433" y="777"/>
                  </a:lnTo>
                  <a:lnTo>
                    <a:pt x="433" y="777"/>
                  </a:lnTo>
                  <a:lnTo>
                    <a:pt x="484" y="777"/>
                  </a:lnTo>
                  <a:lnTo>
                    <a:pt x="484" y="844"/>
                  </a:lnTo>
                  <a:close/>
                  <a:moveTo>
                    <a:pt x="112" y="132"/>
                  </a:moveTo>
                  <a:lnTo>
                    <a:pt x="112" y="132"/>
                  </a:lnTo>
                  <a:cubicBezTo>
                    <a:pt x="112" y="77"/>
                    <a:pt x="157" y="33"/>
                    <a:pt x="211" y="33"/>
                  </a:cubicBezTo>
                  <a:cubicBezTo>
                    <a:pt x="266" y="33"/>
                    <a:pt x="310" y="77"/>
                    <a:pt x="310" y="132"/>
                  </a:cubicBezTo>
                  <a:cubicBezTo>
                    <a:pt x="310" y="162"/>
                    <a:pt x="296" y="189"/>
                    <a:pt x="275" y="207"/>
                  </a:cubicBezTo>
                  <a:lnTo>
                    <a:pt x="275" y="146"/>
                  </a:lnTo>
                  <a:cubicBezTo>
                    <a:pt x="275" y="111"/>
                    <a:pt x="247" y="82"/>
                    <a:pt x="211" y="82"/>
                  </a:cubicBezTo>
                  <a:cubicBezTo>
                    <a:pt x="176" y="82"/>
                    <a:pt x="148" y="111"/>
                    <a:pt x="148" y="146"/>
                  </a:cubicBezTo>
                  <a:lnTo>
                    <a:pt x="148" y="207"/>
                  </a:lnTo>
                  <a:cubicBezTo>
                    <a:pt x="126" y="189"/>
                    <a:pt x="112" y="162"/>
                    <a:pt x="112" y="132"/>
                  </a:cubicBezTo>
                  <a:close/>
                  <a:moveTo>
                    <a:pt x="482" y="322"/>
                  </a:moveTo>
                  <a:lnTo>
                    <a:pt x="482" y="322"/>
                  </a:lnTo>
                  <a:cubicBezTo>
                    <a:pt x="471" y="322"/>
                    <a:pt x="460" y="325"/>
                    <a:pt x="451" y="330"/>
                  </a:cubicBezTo>
                  <a:cubicBezTo>
                    <a:pt x="442" y="306"/>
                    <a:pt x="419" y="289"/>
                    <a:pt x="392" y="289"/>
                  </a:cubicBezTo>
                  <a:cubicBezTo>
                    <a:pt x="380" y="289"/>
                    <a:pt x="369" y="292"/>
                    <a:pt x="359" y="298"/>
                  </a:cubicBezTo>
                  <a:cubicBezTo>
                    <a:pt x="349" y="276"/>
                    <a:pt x="327" y="261"/>
                    <a:pt x="302" y="261"/>
                  </a:cubicBezTo>
                  <a:cubicBezTo>
                    <a:pt x="292" y="261"/>
                    <a:pt x="283" y="263"/>
                    <a:pt x="275" y="266"/>
                  </a:cubicBezTo>
                  <a:lnTo>
                    <a:pt x="275" y="248"/>
                  </a:lnTo>
                  <a:cubicBezTo>
                    <a:pt x="316" y="226"/>
                    <a:pt x="344" y="182"/>
                    <a:pt x="344" y="132"/>
                  </a:cubicBezTo>
                  <a:cubicBezTo>
                    <a:pt x="344" y="59"/>
                    <a:pt x="284" y="0"/>
                    <a:pt x="211" y="0"/>
                  </a:cubicBezTo>
                  <a:cubicBezTo>
                    <a:pt x="138" y="0"/>
                    <a:pt x="78" y="59"/>
                    <a:pt x="78" y="132"/>
                  </a:cubicBezTo>
                  <a:cubicBezTo>
                    <a:pt x="78" y="182"/>
                    <a:pt x="106" y="226"/>
                    <a:pt x="148" y="249"/>
                  </a:cubicBezTo>
                  <a:lnTo>
                    <a:pt x="148" y="411"/>
                  </a:lnTo>
                  <a:cubicBezTo>
                    <a:pt x="148" y="412"/>
                    <a:pt x="148" y="413"/>
                    <a:pt x="148" y="413"/>
                  </a:cubicBezTo>
                  <a:lnTo>
                    <a:pt x="148" y="429"/>
                  </a:lnTo>
                  <a:lnTo>
                    <a:pt x="130" y="396"/>
                  </a:lnTo>
                  <a:cubicBezTo>
                    <a:pt x="113" y="365"/>
                    <a:pt x="74" y="353"/>
                    <a:pt x="42" y="369"/>
                  </a:cubicBezTo>
                  <a:cubicBezTo>
                    <a:pt x="14" y="383"/>
                    <a:pt x="0" y="413"/>
                    <a:pt x="7" y="443"/>
                  </a:cubicBezTo>
                  <a:lnTo>
                    <a:pt x="42" y="585"/>
                  </a:lnTo>
                  <a:cubicBezTo>
                    <a:pt x="50" y="619"/>
                    <a:pt x="64" y="650"/>
                    <a:pt x="84" y="677"/>
                  </a:cubicBezTo>
                  <a:lnTo>
                    <a:pt x="130" y="739"/>
                  </a:lnTo>
                  <a:lnTo>
                    <a:pt x="128" y="739"/>
                  </a:lnTo>
                  <a:cubicBezTo>
                    <a:pt x="118" y="739"/>
                    <a:pt x="109" y="748"/>
                    <a:pt x="109" y="758"/>
                  </a:cubicBezTo>
                  <a:lnTo>
                    <a:pt x="109" y="863"/>
                  </a:lnTo>
                  <a:cubicBezTo>
                    <a:pt x="109" y="873"/>
                    <a:pt x="118" y="882"/>
                    <a:pt x="128" y="882"/>
                  </a:cubicBezTo>
                  <a:lnTo>
                    <a:pt x="502" y="882"/>
                  </a:lnTo>
                  <a:cubicBezTo>
                    <a:pt x="513" y="882"/>
                    <a:pt x="521" y="873"/>
                    <a:pt x="521" y="863"/>
                  </a:cubicBezTo>
                  <a:lnTo>
                    <a:pt x="521" y="758"/>
                  </a:lnTo>
                  <a:cubicBezTo>
                    <a:pt x="521" y="749"/>
                    <a:pt x="514" y="741"/>
                    <a:pt x="506" y="740"/>
                  </a:cubicBezTo>
                  <a:lnTo>
                    <a:pt x="525" y="679"/>
                  </a:lnTo>
                  <a:cubicBezTo>
                    <a:pt x="538" y="636"/>
                    <a:pt x="545" y="590"/>
                    <a:pt x="545" y="544"/>
                  </a:cubicBezTo>
                  <a:lnTo>
                    <a:pt x="545" y="386"/>
                  </a:lnTo>
                  <a:cubicBezTo>
                    <a:pt x="545" y="351"/>
                    <a:pt x="517" y="322"/>
                    <a:pt x="482" y="3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64" name="Google Shape;3852;p111">
              <a:extLst>
                <a:ext uri="{FF2B5EF4-FFF2-40B4-BE49-F238E27FC236}">
                  <a16:creationId xmlns:a16="http://schemas.microsoft.com/office/drawing/2014/main" xmlns="" id="{8BF0FEBE-FCEC-3941-B29E-035D053D4820}"/>
                </a:ext>
              </a:extLst>
            </p:cNvPr>
            <p:cNvCxnSpPr/>
            <p:nvPr/>
          </p:nvCxnSpPr>
          <p:spPr>
            <a:xfrm>
              <a:off x="3914" y="2503"/>
              <a:ext cx="0" cy="0"/>
            </a:xfrm>
            <a:prstGeom prst="straightConnector1">
              <a:avLst/>
            </a:prstGeom>
            <a:grpFill/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65" name="Google Shape;3853;p111">
              <a:extLst>
                <a:ext uri="{FF2B5EF4-FFF2-40B4-BE49-F238E27FC236}">
                  <a16:creationId xmlns:a16="http://schemas.microsoft.com/office/drawing/2014/main" xmlns="" id="{4920F300-F1F5-2943-B28F-56FF7043CF38}"/>
                </a:ext>
              </a:extLst>
            </p:cNvPr>
            <p:cNvSpPr/>
            <p:nvPr/>
          </p:nvSpPr>
          <p:spPr>
            <a:xfrm>
              <a:off x="3905" y="2008"/>
              <a:ext cx="39" cy="143"/>
            </a:xfrm>
            <a:custGeom>
              <a:avLst/>
              <a:gdLst/>
              <a:ahLst/>
              <a:cxnLst/>
              <a:rect l="l" t="t" r="r" b="b"/>
              <a:pathLst>
                <a:path w="65" h="237" extrusionOk="0">
                  <a:moveTo>
                    <a:pt x="20" y="237"/>
                  </a:moveTo>
                  <a:lnTo>
                    <a:pt x="20" y="237"/>
                  </a:lnTo>
                  <a:cubicBezTo>
                    <a:pt x="17" y="237"/>
                    <a:pt x="14" y="236"/>
                    <a:pt x="11" y="234"/>
                  </a:cubicBezTo>
                  <a:cubicBezTo>
                    <a:pt x="3" y="230"/>
                    <a:pt x="1" y="219"/>
                    <a:pt x="6" y="211"/>
                  </a:cubicBezTo>
                  <a:cubicBezTo>
                    <a:pt x="22" y="184"/>
                    <a:pt x="31" y="152"/>
                    <a:pt x="31" y="120"/>
                  </a:cubicBezTo>
                  <a:cubicBezTo>
                    <a:pt x="31" y="88"/>
                    <a:pt x="22" y="56"/>
                    <a:pt x="5" y="28"/>
                  </a:cubicBezTo>
                  <a:cubicBezTo>
                    <a:pt x="0" y="20"/>
                    <a:pt x="3" y="10"/>
                    <a:pt x="11" y="5"/>
                  </a:cubicBezTo>
                  <a:cubicBezTo>
                    <a:pt x="19" y="0"/>
                    <a:pt x="30" y="3"/>
                    <a:pt x="34" y="11"/>
                  </a:cubicBezTo>
                  <a:cubicBezTo>
                    <a:pt x="54" y="44"/>
                    <a:pt x="65" y="81"/>
                    <a:pt x="65" y="120"/>
                  </a:cubicBezTo>
                  <a:cubicBezTo>
                    <a:pt x="65" y="158"/>
                    <a:pt x="54" y="196"/>
                    <a:pt x="35" y="229"/>
                  </a:cubicBezTo>
                  <a:cubicBezTo>
                    <a:pt x="31" y="234"/>
                    <a:pt x="26" y="237"/>
                    <a:pt x="20" y="2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6" name="Google Shape;3854;p111">
              <a:extLst>
                <a:ext uri="{FF2B5EF4-FFF2-40B4-BE49-F238E27FC236}">
                  <a16:creationId xmlns:a16="http://schemas.microsoft.com/office/drawing/2014/main" xmlns="" id="{86153BB3-B2E8-1D48-A0D7-529AA834BFA1}"/>
                </a:ext>
              </a:extLst>
            </p:cNvPr>
            <p:cNvSpPr/>
            <p:nvPr/>
          </p:nvSpPr>
          <p:spPr>
            <a:xfrm>
              <a:off x="3686" y="2010"/>
              <a:ext cx="39" cy="139"/>
            </a:xfrm>
            <a:custGeom>
              <a:avLst/>
              <a:gdLst/>
              <a:ahLst/>
              <a:cxnLst/>
              <a:rect l="l" t="t" r="r" b="b"/>
              <a:pathLst>
                <a:path w="63" h="231" extrusionOk="0">
                  <a:moveTo>
                    <a:pt x="43" y="231"/>
                  </a:moveTo>
                  <a:lnTo>
                    <a:pt x="43" y="231"/>
                  </a:lnTo>
                  <a:cubicBezTo>
                    <a:pt x="38" y="231"/>
                    <a:pt x="32" y="228"/>
                    <a:pt x="29" y="223"/>
                  </a:cubicBezTo>
                  <a:cubicBezTo>
                    <a:pt x="10" y="191"/>
                    <a:pt x="0" y="154"/>
                    <a:pt x="0" y="117"/>
                  </a:cubicBezTo>
                  <a:cubicBezTo>
                    <a:pt x="0" y="80"/>
                    <a:pt x="9" y="43"/>
                    <a:pt x="27" y="11"/>
                  </a:cubicBezTo>
                  <a:cubicBezTo>
                    <a:pt x="32" y="2"/>
                    <a:pt x="42" y="0"/>
                    <a:pt x="50" y="4"/>
                  </a:cubicBezTo>
                  <a:cubicBezTo>
                    <a:pt x="59" y="9"/>
                    <a:pt x="61" y="19"/>
                    <a:pt x="57" y="27"/>
                  </a:cubicBezTo>
                  <a:cubicBezTo>
                    <a:pt x="41" y="54"/>
                    <a:pt x="33" y="85"/>
                    <a:pt x="33" y="117"/>
                  </a:cubicBezTo>
                  <a:cubicBezTo>
                    <a:pt x="34" y="148"/>
                    <a:pt x="42" y="179"/>
                    <a:pt x="58" y="206"/>
                  </a:cubicBezTo>
                  <a:cubicBezTo>
                    <a:pt x="63" y="214"/>
                    <a:pt x="60" y="224"/>
                    <a:pt x="52" y="229"/>
                  </a:cubicBezTo>
                  <a:cubicBezTo>
                    <a:pt x="49" y="230"/>
                    <a:pt x="46" y="231"/>
                    <a:pt x="43" y="2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67" name="Google Shape;1730;p46">
            <a:extLst>
              <a:ext uri="{FF2B5EF4-FFF2-40B4-BE49-F238E27FC236}">
                <a16:creationId xmlns:a16="http://schemas.microsoft.com/office/drawing/2014/main" xmlns="" id="{839A43F2-92BC-534A-9AEE-FC6D00B15738}"/>
              </a:ext>
            </a:extLst>
          </p:cNvPr>
          <p:cNvCxnSpPr>
            <a:cxnSpLocks/>
          </p:cNvCxnSpPr>
          <p:nvPr/>
        </p:nvCxnSpPr>
        <p:spPr>
          <a:xfrm>
            <a:off x="3647728" y="4454650"/>
            <a:ext cx="4762" cy="1918284"/>
          </a:xfrm>
          <a:prstGeom prst="straightConnector1">
            <a:avLst/>
          </a:prstGeom>
          <a:noFill/>
          <a:ln w="25400" cap="flat" cmpd="sng">
            <a:solidFill>
              <a:srgbClr val="15C04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8" name="Google Shape;1731;p46">
            <a:extLst>
              <a:ext uri="{FF2B5EF4-FFF2-40B4-BE49-F238E27FC236}">
                <a16:creationId xmlns:a16="http://schemas.microsoft.com/office/drawing/2014/main" xmlns="" id="{1DF917D2-E4B1-EA47-B2F9-92511F8B427D}"/>
              </a:ext>
            </a:extLst>
          </p:cNvPr>
          <p:cNvCxnSpPr/>
          <p:nvPr/>
        </p:nvCxnSpPr>
        <p:spPr>
          <a:xfrm rot="10800000" flipH="1">
            <a:off x="3647729" y="4721920"/>
            <a:ext cx="830263" cy="7938"/>
          </a:xfrm>
          <a:prstGeom prst="straightConnector1">
            <a:avLst/>
          </a:prstGeom>
          <a:noFill/>
          <a:ln w="25400" cap="flat" cmpd="sng">
            <a:solidFill>
              <a:srgbClr val="15C045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70" name="Google Shape;1733;p46">
            <a:extLst>
              <a:ext uri="{FF2B5EF4-FFF2-40B4-BE49-F238E27FC236}">
                <a16:creationId xmlns:a16="http://schemas.microsoft.com/office/drawing/2014/main" xmlns="" id="{2BA2F4D4-E24C-1D4A-9278-85C0EAA40B53}"/>
              </a:ext>
            </a:extLst>
          </p:cNvPr>
          <p:cNvCxnSpPr/>
          <p:nvPr/>
        </p:nvCxnSpPr>
        <p:spPr>
          <a:xfrm>
            <a:off x="3647728" y="5516761"/>
            <a:ext cx="844550" cy="0"/>
          </a:xfrm>
          <a:prstGeom prst="straightConnector1">
            <a:avLst/>
          </a:prstGeom>
          <a:noFill/>
          <a:ln w="25400" cap="flat" cmpd="sng">
            <a:solidFill>
              <a:srgbClr val="15C045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72" name="Google Shape;1733;p46">
            <a:extLst>
              <a:ext uri="{FF2B5EF4-FFF2-40B4-BE49-F238E27FC236}">
                <a16:creationId xmlns:a16="http://schemas.microsoft.com/office/drawing/2014/main" xmlns="" id="{490AAD0B-AA3C-3248-8D11-A28C0486D29D}"/>
              </a:ext>
            </a:extLst>
          </p:cNvPr>
          <p:cNvCxnSpPr/>
          <p:nvPr/>
        </p:nvCxnSpPr>
        <p:spPr>
          <a:xfrm>
            <a:off x="3647728" y="6372934"/>
            <a:ext cx="844550" cy="0"/>
          </a:xfrm>
          <a:prstGeom prst="straightConnector1">
            <a:avLst/>
          </a:prstGeom>
          <a:noFill/>
          <a:ln w="25400" cap="flat" cmpd="sng">
            <a:solidFill>
              <a:srgbClr val="15C045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73" name="Google Shape;1341;p37">
            <a:extLst>
              <a:ext uri="{FF2B5EF4-FFF2-40B4-BE49-F238E27FC236}">
                <a16:creationId xmlns:a16="http://schemas.microsoft.com/office/drawing/2014/main" xmlns="" id="{79A7B28C-02A0-EB4F-861A-9840469ABBC1}"/>
              </a:ext>
            </a:extLst>
          </p:cNvPr>
          <p:cNvSpPr/>
          <p:nvPr/>
        </p:nvSpPr>
        <p:spPr>
          <a:xfrm>
            <a:off x="4505982" y="4514101"/>
            <a:ext cx="439033" cy="439033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74" name="Google Shape;1341;p37">
            <a:extLst>
              <a:ext uri="{FF2B5EF4-FFF2-40B4-BE49-F238E27FC236}">
                <a16:creationId xmlns:a16="http://schemas.microsoft.com/office/drawing/2014/main" xmlns="" id="{8B3A1E7A-1B9B-BD46-A3AA-7949FD1B2295}"/>
              </a:ext>
            </a:extLst>
          </p:cNvPr>
          <p:cNvSpPr/>
          <p:nvPr/>
        </p:nvSpPr>
        <p:spPr>
          <a:xfrm>
            <a:off x="4533691" y="5271678"/>
            <a:ext cx="439033" cy="439033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75" name="Google Shape;1341;p37">
            <a:extLst>
              <a:ext uri="{FF2B5EF4-FFF2-40B4-BE49-F238E27FC236}">
                <a16:creationId xmlns:a16="http://schemas.microsoft.com/office/drawing/2014/main" xmlns="" id="{0E2C7D68-1946-FD44-B00E-C155E37B6B4C}"/>
              </a:ext>
            </a:extLst>
          </p:cNvPr>
          <p:cNvSpPr/>
          <p:nvPr/>
        </p:nvSpPr>
        <p:spPr>
          <a:xfrm>
            <a:off x="4505654" y="6088706"/>
            <a:ext cx="439033" cy="439033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77" name="Google Shape;3272;p105">
            <a:extLst>
              <a:ext uri="{FF2B5EF4-FFF2-40B4-BE49-F238E27FC236}">
                <a16:creationId xmlns:a16="http://schemas.microsoft.com/office/drawing/2014/main" xmlns="" id="{E70EECDF-296A-EB4F-9222-D5856017B94E}"/>
              </a:ext>
            </a:extLst>
          </p:cNvPr>
          <p:cNvGrpSpPr/>
          <p:nvPr/>
        </p:nvGrpSpPr>
        <p:grpSpPr>
          <a:xfrm>
            <a:off x="4561537" y="4623647"/>
            <a:ext cx="339765" cy="207390"/>
            <a:chOff x="3965" y="3562"/>
            <a:chExt cx="520" cy="325"/>
          </a:xfrm>
          <a:solidFill>
            <a:srgbClr val="7DFF45"/>
          </a:solidFill>
        </p:grpSpPr>
        <p:sp>
          <p:nvSpPr>
            <p:cNvPr id="78" name="Google Shape;3273;p105">
              <a:extLst>
                <a:ext uri="{FF2B5EF4-FFF2-40B4-BE49-F238E27FC236}">
                  <a16:creationId xmlns:a16="http://schemas.microsoft.com/office/drawing/2014/main" xmlns="" id="{5732E6DE-92B5-6E49-A47B-456C895486C2}"/>
                </a:ext>
              </a:extLst>
            </p:cNvPr>
            <p:cNvSpPr/>
            <p:nvPr/>
          </p:nvSpPr>
          <p:spPr>
            <a:xfrm>
              <a:off x="3965" y="3562"/>
              <a:ext cx="520" cy="325"/>
            </a:xfrm>
            <a:custGeom>
              <a:avLst/>
              <a:gdLst/>
              <a:ahLst/>
              <a:cxnLst/>
              <a:rect l="l" t="t" r="r" b="b"/>
              <a:pathLst>
                <a:path w="847" h="536" extrusionOk="0">
                  <a:moveTo>
                    <a:pt x="423" y="504"/>
                  </a:moveTo>
                  <a:lnTo>
                    <a:pt x="423" y="504"/>
                  </a:lnTo>
                  <a:cubicBezTo>
                    <a:pt x="205" y="504"/>
                    <a:pt x="31" y="334"/>
                    <a:pt x="31" y="267"/>
                  </a:cubicBezTo>
                  <a:cubicBezTo>
                    <a:pt x="31" y="200"/>
                    <a:pt x="205" y="30"/>
                    <a:pt x="423" y="30"/>
                  </a:cubicBezTo>
                  <a:cubicBezTo>
                    <a:pt x="642" y="30"/>
                    <a:pt x="816" y="200"/>
                    <a:pt x="816" y="267"/>
                  </a:cubicBezTo>
                  <a:cubicBezTo>
                    <a:pt x="816" y="334"/>
                    <a:pt x="642" y="504"/>
                    <a:pt x="423" y="504"/>
                  </a:cubicBezTo>
                  <a:close/>
                  <a:moveTo>
                    <a:pt x="423" y="0"/>
                  </a:moveTo>
                  <a:lnTo>
                    <a:pt x="423" y="0"/>
                  </a:lnTo>
                  <a:cubicBezTo>
                    <a:pt x="187" y="0"/>
                    <a:pt x="0" y="191"/>
                    <a:pt x="0" y="267"/>
                  </a:cubicBezTo>
                  <a:cubicBezTo>
                    <a:pt x="0" y="343"/>
                    <a:pt x="187" y="536"/>
                    <a:pt x="423" y="536"/>
                  </a:cubicBezTo>
                  <a:cubicBezTo>
                    <a:pt x="659" y="536"/>
                    <a:pt x="847" y="343"/>
                    <a:pt x="847" y="267"/>
                  </a:cubicBezTo>
                  <a:cubicBezTo>
                    <a:pt x="847" y="191"/>
                    <a:pt x="659" y="0"/>
                    <a:pt x="423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9" name="Google Shape;3274;p105">
              <a:extLst>
                <a:ext uri="{FF2B5EF4-FFF2-40B4-BE49-F238E27FC236}">
                  <a16:creationId xmlns:a16="http://schemas.microsoft.com/office/drawing/2014/main" xmlns="" id="{A1EA9D74-B8AC-6C4D-909C-A8EDF74E4953}"/>
                </a:ext>
              </a:extLst>
            </p:cNvPr>
            <p:cNvSpPr/>
            <p:nvPr/>
          </p:nvSpPr>
          <p:spPr>
            <a:xfrm>
              <a:off x="4189" y="3689"/>
              <a:ext cx="72" cy="70"/>
            </a:xfrm>
            <a:custGeom>
              <a:avLst/>
              <a:gdLst/>
              <a:ahLst/>
              <a:cxnLst/>
              <a:rect l="l" t="t" r="r" b="b"/>
              <a:pathLst>
                <a:path w="117" h="116" extrusionOk="0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1" y="116"/>
                    <a:pt x="117" y="90"/>
                    <a:pt x="117" y="58"/>
                  </a:cubicBezTo>
                  <a:cubicBezTo>
                    <a:pt x="117" y="26"/>
                    <a:pt x="91" y="0"/>
                    <a:pt x="58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0" name="Google Shape;3275;p105">
              <a:extLst>
                <a:ext uri="{FF2B5EF4-FFF2-40B4-BE49-F238E27FC236}">
                  <a16:creationId xmlns:a16="http://schemas.microsoft.com/office/drawing/2014/main" xmlns="" id="{2421C00B-A02D-A04A-8A71-EF8B0E318B78}"/>
                </a:ext>
              </a:extLst>
            </p:cNvPr>
            <p:cNvSpPr/>
            <p:nvPr/>
          </p:nvSpPr>
          <p:spPr>
            <a:xfrm>
              <a:off x="4108" y="3608"/>
              <a:ext cx="234" cy="232"/>
            </a:xfrm>
            <a:custGeom>
              <a:avLst/>
              <a:gdLst/>
              <a:ahLst/>
              <a:cxnLst/>
              <a:rect l="l" t="t" r="r" b="b"/>
              <a:pathLst>
                <a:path w="381" h="381" extrusionOk="0">
                  <a:moveTo>
                    <a:pt x="190" y="350"/>
                  </a:moveTo>
                  <a:lnTo>
                    <a:pt x="190" y="350"/>
                  </a:lnTo>
                  <a:cubicBezTo>
                    <a:pt x="103" y="350"/>
                    <a:pt x="31" y="278"/>
                    <a:pt x="31" y="190"/>
                  </a:cubicBezTo>
                  <a:cubicBezTo>
                    <a:pt x="31" y="102"/>
                    <a:pt x="103" y="31"/>
                    <a:pt x="190" y="31"/>
                  </a:cubicBezTo>
                  <a:cubicBezTo>
                    <a:pt x="278" y="31"/>
                    <a:pt x="350" y="102"/>
                    <a:pt x="350" y="190"/>
                  </a:cubicBezTo>
                  <a:cubicBezTo>
                    <a:pt x="350" y="278"/>
                    <a:pt x="278" y="350"/>
                    <a:pt x="190" y="350"/>
                  </a:cubicBezTo>
                  <a:close/>
                  <a:moveTo>
                    <a:pt x="190" y="0"/>
                  </a:moveTo>
                  <a:lnTo>
                    <a:pt x="190" y="0"/>
                  </a:lnTo>
                  <a:cubicBezTo>
                    <a:pt x="85" y="0"/>
                    <a:pt x="0" y="85"/>
                    <a:pt x="0" y="190"/>
                  </a:cubicBezTo>
                  <a:cubicBezTo>
                    <a:pt x="0" y="295"/>
                    <a:pt x="85" y="381"/>
                    <a:pt x="190" y="381"/>
                  </a:cubicBezTo>
                  <a:cubicBezTo>
                    <a:pt x="296" y="381"/>
                    <a:pt x="381" y="295"/>
                    <a:pt x="381" y="190"/>
                  </a:cubicBezTo>
                  <a:cubicBezTo>
                    <a:pt x="381" y="85"/>
                    <a:pt x="296" y="0"/>
                    <a:pt x="190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1" name="Google Shape;4086;p113">
            <a:extLst>
              <a:ext uri="{FF2B5EF4-FFF2-40B4-BE49-F238E27FC236}">
                <a16:creationId xmlns:a16="http://schemas.microsoft.com/office/drawing/2014/main" xmlns="" id="{B5337845-AD05-A54C-8A7F-E8DFA3BB3F74}"/>
              </a:ext>
            </a:extLst>
          </p:cNvPr>
          <p:cNvGrpSpPr/>
          <p:nvPr/>
        </p:nvGrpSpPr>
        <p:grpSpPr>
          <a:xfrm>
            <a:off x="4634553" y="5372745"/>
            <a:ext cx="237311" cy="236901"/>
            <a:chOff x="1091" y="2665"/>
            <a:chExt cx="422" cy="422"/>
          </a:xfrm>
          <a:solidFill>
            <a:srgbClr val="7DFF45"/>
          </a:solidFill>
        </p:grpSpPr>
        <p:sp>
          <p:nvSpPr>
            <p:cNvPr id="82" name="Google Shape;4087;p113">
              <a:extLst>
                <a:ext uri="{FF2B5EF4-FFF2-40B4-BE49-F238E27FC236}">
                  <a16:creationId xmlns:a16="http://schemas.microsoft.com/office/drawing/2014/main" xmlns="" id="{D39EAC1C-0CE6-A14B-857E-7D35CEFF8873}"/>
                </a:ext>
              </a:extLst>
            </p:cNvPr>
            <p:cNvSpPr/>
            <p:nvPr/>
          </p:nvSpPr>
          <p:spPr>
            <a:xfrm>
              <a:off x="1091" y="2665"/>
              <a:ext cx="422" cy="422"/>
            </a:xfrm>
            <a:custGeom>
              <a:avLst/>
              <a:gdLst/>
              <a:ahLst/>
              <a:cxnLst/>
              <a:rect l="l" t="t" r="r" b="b"/>
              <a:pathLst>
                <a:path w="691" h="691" extrusionOk="0">
                  <a:moveTo>
                    <a:pt x="675" y="235"/>
                  </a:moveTo>
                  <a:lnTo>
                    <a:pt x="675" y="235"/>
                  </a:lnTo>
                  <a:cubicBezTo>
                    <a:pt x="667" y="235"/>
                    <a:pt x="660" y="242"/>
                    <a:pt x="660" y="250"/>
                  </a:cubicBezTo>
                  <a:lnTo>
                    <a:pt x="660" y="596"/>
                  </a:lnTo>
                  <a:cubicBezTo>
                    <a:pt x="660" y="631"/>
                    <a:pt x="631" y="659"/>
                    <a:pt x="597" y="659"/>
                  </a:cubicBezTo>
                  <a:lnTo>
                    <a:pt x="94" y="659"/>
                  </a:lnTo>
                  <a:cubicBezTo>
                    <a:pt x="59" y="659"/>
                    <a:pt x="31" y="631"/>
                    <a:pt x="31" y="596"/>
                  </a:cubicBezTo>
                  <a:lnTo>
                    <a:pt x="31" y="93"/>
                  </a:lnTo>
                  <a:cubicBezTo>
                    <a:pt x="31" y="59"/>
                    <a:pt x="59" y="30"/>
                    <a:pt x="94" y="30"/>
                  </a:cubicBezTo>
                  <a:lnTo>
                    <a:pt x="440" y="30"/>
                  </a:lnTo>
                  <a:cubicBezTo>
                    <a:pt x="448" y="30"/>
                    <a:pt x="455" y="23"/>
                    <a:pt x="455" y="15"/>
                  </a:cubicBezTo>
                  <a:cubicBezTo>
                    <a:pt x="455" y="6"/>
                    <a:pt x="448" y="0"/>
                    <a:pt x="440" y="0"/>
                  </a:cubicBezTo>
                  <a:lnTo>
                    <a:pt x="94" y="0"/>
                  </a:lnTo>
                  <a:cubicBezTo>
                    <a:pt x="42" y="0"/>
                    <a:pt x="0" y="41"/>
                    <a:pt x="0" y="93"/>
                  </a:cubicBezTo>
                  <a:lnTo>
                    <a:pt x="0" y="596"/>
                  </a:lnTo>
                  <a:cubicBezTo>
                    <a:pt x="0" y="648"/>
                    <a:pt x="42" y="691"/>
                    <a:pt x="94" y="691"/>
                  </a:cubicBezTo>
                  <a:lnTo>
                    <a:pt x="597" y="691"/>
                  </a:lnTo>
                  <a:cubicBezTo>
                    <a:pt x="649" y="691"/>
                    <a:pt x="691" y="648"/>
                    <a:pt x="691" y="596"/>
                  </a:cubicBezTo>
                  <a:lnTo>
                    <a:pt x="691" y="250"/>
                  </a:lnTo>
                  <a:cubicBezTo>
                    <a:pt x="691" y="242"/>
                    <a:pt x="684" y="235"/>
                    <a:pt x="675" y="2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Google Shape;4088;p113">
              <a:extLst>
                <a:ext uri="{FF2B5EF4-FFF2-40B4-BE49-F238E27FC236}">
                  <a16:creationId xmlns:a16="http://schemas.microsoft.com/office/drawing/2014/main" xmlns="" id="{549C4987-DB7B-E240-BB9E-97A76B85F5E3}"/>
                </a:ext>
              </a:extLst>
            </p:cNvPr>
            <p:cNvSpPr/>
            <p:nvPr/>
          </p:nvSpPr>
          <p:spPr>
            <a:xfrm>
              <a:off x="1196" y="2665"/>
              <a:ext cx="317" cy="316"/>
            </a:xfrm>
            <a:custGeom>
              <a:avLst/>
              <a:gdLst/>
              <a:ahLst/>
              <a:cxnLst/>
              <a:rect l="l" t="t" r="r" b="b"/>
              <a:pathLst>
                <a:path w="519" h="518" extrusionOk="0">
                  <a:moveTo>
                    <a:pt x="474" y="111"/>
                  </a:moveTo>
                  <a:lnTo>
                    <a:pt x="474" y="111"/>
                  </a:lnTo>
                  <a:lnTo>
                    <a:pt x="454" y="131"/>
                  </a:lnTo>
                  <a:lnTo>
                    <a:pt x="387" y="64"/>
                  </a:lnTo>
                  <a:lnTo>
                    <a:pt x="407" y="44"/>
                  </a:lnTo>
                  <a:cubicBezTo>
                    <a:pt x="416" y="36"/>
                    <a:pt x="427" y="30"/>
                    <a:pt x="440" y="30"/>
                  </a:cubicBezTo>
                  <a:cubicBezTo>
                    <a:pt x="467" y="30"/>
                    <a:pt x="488" y="51"/>
                    <a:pt x="488" y="77"/>
                  </a:cubicBezTo>
                  <a:cubicBezTo>
                    <a:pt x="488" y="91"/>
                    <a:pt x="482" y="102"/>
                    <a:pt x="474" y="111"/>
                  </a:cubicBezTo>
                  <a:close/>
                  <a:moveTo>
                    <a:pt x="142" y="443"/>
                  </a:moveTo>
                  <a:lnTo>
                    <a:pt x="142" y="443"/>
                  </a:lnTo>
                  <a:lnTo>
                    <a:pt x="142" y="376"/>
                  </a:lnTo>
                  <a:lnTo>
                    <a:pt x="75" y="376"/>
                  </a:lnTo>
                  <a:lnTo>
                    <a:pt x="365" y="87"/>
                  </a:lnTo>
                  <a:lnTo>
                    <a:pt x="431" y="153"/>
                  </a:lnTo>
                  <a:lnTo>
                    <a:pt x="142" y="443"/>
                  </a:lnTo>
                  <a:close/>
                  <a:moveTo>
                    <a:pt x="110" y="466"/>
                  </a:moveTo>
                  <a:lnTo>
                    <a:pt x="110" y="466"/>
                  </a:lnTo>
                  <a:lnTo>
                    <a:pt x="40" y="478"/>
                  </a:lnTo>
                  <a:lnTo>
                    <a:pt x="52" y="408"/>
                  </a:lnTo>
                  <a:lnTo>
                    <a:pt x="110" y="408"/>
                  </a:lnTo>
                  <a:lnTo>
                    <a:pt x="110" y="466"/>
                  </a:lnTo>
                  <a:close/>
                  <a:moveTo>
                    <a:pt x="440" y="0"/>
                  </a:moveTo>
                  <a:lnTo>
                    <a:pt x="440" y="0"/>
                  </a:lnTo>
                  <a:cubicBezTo>
                    <a:pt x="419" y="0"/>
                    <a:pt x="399" y="8"/>
                    <a:pt x="385" y="22"/>
                  </a:cubicBezTo>
                  <a:lnTo>
                    <a:pt x="23" y="383"/>
                  </a:lnTo>
                  <a:lnTo>
                    <a:pt x="0" y="518"/>
                  </a:lnTo>
                  <a:lnTo>
                    <a:pt x="135" y="495"/>
                  </a:lnTo>
                  <a:lnTo>
                    <a:pt x="496" y="133"/>
                  </a:lnTo>
                  <a:cubicBezTo>
                    <a:pt x="510" y="119"/>
                    <a:pt x="519" y="99"/>
                    <a:pt x="519" y="77"/>
                  </a:cubicBezTo>
                  <a:cubicBezTo>
                    <a:pt x="519" y="34"/>
                    <a:pt x="484" y="0"/>
                    <a:pt x="4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5" name="Google Shape;3830;p111">
            <a:extLst>
              <a:ext uri="{FF2B5EF4-FFF2-40B4-BE49-F238E27FC236}">
                <a16:creationId xmlns:a16="http://schemas.microsoft.com/office/drawing/2014/main" xmlns="" id="{F9D579C4-514A-4147-AA49-47614372C3D8}"/>
              </a:ext>
            </a:extLst>
          </p:cNvPr>
          <p:cNvGrpSpPr/>
          <p:nvPr/>
        </p:nvGrpSpPr>
        <p:grpSpPr>
          <a:xfrm>
            <a:off x="4638652" y="6165877"/>
            <a:ext cx="173692" cy="292927"/>
            <a:chOff x="2020" y="3058"/>
            <a:chExt cx="303" cy="511"/>
          </a:xfrm>
          <a:noFill/>
        </p:grpSpPr>
        <p:sp>
          <p:nvSpPr>
            <p:cNvPr id="86" name="Google Shape;3831;p111">
              <a:extLst>
                <a:ext uri="{FF2B5EF4-FFF2-40B4-BE49-F238E27FC236}">
                  <a16:creationId xmlns:a16="http://schemas.microsoft.com/office/drawing/2014/main" xmlns="" id="{D316B467-2049-F948-9920-B26F5719FAF2}"/>
                </a:ext>
              </a:extLst>
            </p:cNvPr>
            <p:cNvSpPr/>
            <p:nvPr/>
          </p:nvSpPr>
          <p:spPr>
            <a:xfrm>
              <a:off x="2160" y="3058"/>
              <a:ext cx="92" cy="93"/>
            </a:xfrm>
            <a:custGeom>
              <a:avLst/>
              <a:gdLst/>
              <a:ahLst/>
              <a:cxnLst/>
              <a:rect l="l" t="t" r="r" b="b"/>
              <a:pathLst>
                <a:path w="151" h="151" extrusionOk="0">
                  <a:moveTo>
                    <a:pt x="75" y="151"/>
                  </a:moveTo>
                  <a:lnTo>
                    <a:pt x="75" y="151"/>
                  </a:lnTo>
                  <a:cubicBezTo>
                    <a:pt x="117" y="151"/>
                    <a:pt x="151" y="117"/>
                    <a:pt x="151" y="76"/>
                  </a:cubicBezTo>
                  <a:cubicBezTo>
                    <a:pt x="151" y="34"/>
                    <a:pt x="117" y="0"/>
                    <a:pt x="75" y="0"/>
                  </a:cubicBezTo>
                  <a:cubicBezTo>
                    <a:pt x="34" y="0"/>
                    <a:pt x="0" y="34"/>
                    <a:pt x="0" y="76"/>
                  </a:cubicBezTo>
                  <a:cubicBezTo>
                    <a:pt x="0" y="117"/>
                    <a:pt x="34" y="151"/>
                    <a:pt x="75" y="151"/>
                  </a:cubicBezTo>
                  <a:lnTo>
                    <a:pt x="75" y="151"/>
                  </a:lnTo>
                  <a:close/>
                </a:path>
              </a:pathLst>
            </a:custGeom>
            <a:grpFill/>
            <a:ln w="9525" cap="flat" cmpd="sng">
              <a:solidFill>
                <a:srgbClr val="7DFF4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7" name="Google Shape;3832;p111">
              <a:extLst>
                <a:ext uri="{FF2B5EF4-FFF2-40B4-BE49-F238E27FC236}">
                  <a16:creationId xmlns:a16="http://schemas.microsoft.com/office/drawing/2014/main" xmlns="" id="{3DE6223F-A67F-434A-9FBD-71D6E684118E}"/>
                </a:ext>
              </a:extLst>
            </p:cNvPr>
            <p:cNvSpPr/>
            <p:nvPr/>
          </p:nvSpPr>
          <p:spPr>
            <a:xfrm>
              <a:off x="2020" y="3168"/>
              <a:ext cx="303" cy="401"/>
            </a:xfrm>
            <a:custGeom>
              <a:avLst/>
              <a:gdLst/>
              <a:ahLst/>
              <a:cxnLst/>
              <a:rect l="l" t="t" r="r" b="b"/>
              <a:pathLst>
                <a:path w="493" h="651" extrusionOk="0">
                  <a:moveTo>
                    <a:pt x="155" y="101"/>
                  </a:moveTo>
                  <a:lnTo>
                    <a:pt x="155" y="101"/>
                  </a:lnTo>
                  <a:lnTo>
                    <a:pt x="7" y="579"/>
                  </a:lnTo>
                  <a:cubicBezTo>
                    <a:pt x="1" y="601"/>
                    <a:pt x="15" y="622"/>
                    <a:pt x="37" y="625"/>
                  </a:cubicBezTo>
                  <a:cubicBezTo>
                    <a:pt x="59" y="627"/>
                    <a:pt x="79" y="614"/>
                    <a:pt x="85" y="594"/>
                  </a:cubicBezTo>
                  <a:lnTo>
                    <a:pt x="162" y="365"/>
                  </a:lnTo>
                  <a:cubicBezTo>
                    <a:pt x="166" y="352"/>
                    <a:pt x="184" y="348"/>
                    <a:pt x="193" y="359"/>
                  </a:cubicBezTo>
                  <a:lnTo>
                    <a:pt x="240" y="413"/>
                  </a:lnTo>
                  <a:cubicBezTo>
                    <a:pt x="243" y="417"/>
                    <a:pt x="244" y="422"/>
                    <a:pt x="244" y="427"/>
                  </a:cubicBezTo>
                  <a:lnTo>
                    <a:pt x="224" y="611"/>
                  </a:lnTo>
                  <a:cubicBezTo>
                    <a:pt x="222" y="629"/>
                    <a:pt x="236" y="646"/>
                    <a:pt x="254" y="648"/>
                  </a:cubicBezTo>
                  <a:cubicBezTo>
                    <a:pt x="277" y="651"/>
                    <a:pt x="298" y="634"/>
                    <a:pt x="300" y="612"/>
                  </a:cubicBezTo>
                  <a:lnTo>
                    <a:pt x="325" y="383"/>
                  </a:lnTo>
                  <a:cubicBezTo>
                    <a:pt x="326" y="374"/>
                    <a:pt x="323" y="365"/>
                    <a:pt x="317" y="358"/>
                  </a:cubicBezTo>
                  <a:lnTo>
                    <a:pt x="264" y="291"/>
                  </a:lnTo>
                  <a:cubicBezTo>
                    <a:pt x="260" y="286"/>
                    <a:pt x="259" y="280"/>
                    <a:pt x="260" y="274"/>
                  </a:cubicBezTo>
                  <a:lnTo>
                    <a:pt x="282" y="207"/>
                  </a:lnTo>
                  <a:cubicBezTo>
                    <a:pt x="286" y="193"/>
                    <a:pt x="303" y="190"/>
                    <a:pt x="313" y="201"/>
                  </a:cubicBezTo>
                  <a:cubicBezTo>
                    <a:pt x="346" y="241"/>
                    <a:pt x="392" y="271"/>
                    <a:pt x="444" y="285"/>
                  </a:cubicBezTo>
                  <a:cubicBezTo>
                    <a:pt x="466" y="291"/>
                    <a:pt x="488" y="276"/>
                    <a:pt x="491" y="254"/>
                  </a:cubicBezTo>
                  <a:lnTo>
                    <a:pt x="491" y="251"/>
                  </a:lnTo>
                  <a:cubicBezTo>
                    <a:pt x="493" y="233"/>
                    <a:pt x="482" y="217"/>
                    <a:pt x="464" y="212"/>
                  </a:cubicBezTo>
                  <a:cubicBezTo>
                    <a:pt x="409" y="197"/>
                    <a:pt x="365" y="157"/>
                    <a:pt x="341" y="108"/>
                  </a:cubicBezTo>
                  <a:lnTo>
                    <a:pt x="312" y="44"/>
                  </a:lnTo>
                  <a:cubicBezTo>
                    <a:pt x="301" y="20"/>
                    <a:pt x="278" y="4"/>
                    <a:pt x="252" y="1"/>
                  </a:cubicBezTo>
                  <a:cubicBezTo>
                    <a:pt x="242" y="0"/>
                    <a:pt x="233" y="1"/>
                    <a:pt x="223" y="4"/>
                  </a:cubicBezTo>
                  <a:lnTo>
                    <a:pt x="28" y="60"/>
                  </a:lnTo>
                  <a:cubicBezTo>
                    <a:pt x="21" y="62"/>
                    <a:pt x="16" y="68"/>
                    <a:pt x="16" y="75"/>
                  </a:cubicBezTo>
                  <a:lnTo>
                    <a:pt x="2" y="205"/>
                  </a:lnTo>
                  <a:cubicBezTo>
                    <a:pt x="0" y="224"/>
                    <a:pt x="14" y="242"/>
                    <a:pt x="33" y="244"/>
                  </a:cubicBezTo>
                  <a:lnTo>
                    <a:pt x="37" y="244"/>
                  </a:lnTo>
                  <a:cubicBezTo>
                    <a:pt x="57" y="247"/>
                    <a:pt x="75" y="232"/>
                    <a:pt x="77" y="213"/>
                  </a:cubicBezTo>
                  <a:lnTo>
                    <a:pt x="85" y="134"/>
                  </a:lnTo>
                  <a:cubicBezTo>
                    <a:pt x="86" y="127"/>
                    <a:pt x="91" y="121"/>
                    <a:pt x="98" y="119"/>
                  </a:cubicBezTo>
                  <a:lnTo>
                    <a:pt x="155" y="101"/>
                  </a:lnTo>
                  <a:lnTo>
                    <a:pt x="155" y="101"/>
                  </a:lnTo>
                  <a:close/>
                </a:path>
              </a:pathLst>
            </a:custGeom>
            <a:grpFill/>
            <a:ln w="9525" cap="rnd" cmpd="sng">
              <a:solidFill>
                <a:srgbClr val="7DFF4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8" name="Rectángulo 87">
            <a:extLst>
              <a:ext uri="{FF2B5EF4-FFF2-40B4-BE49-F238E27FC236}">
                <a16:creationId xmlns:a16="http://schemas.microsoft.com/office/drawing/2014/main" xmlns="" id="{63D3E6DC-E83E-664E-AB54-ADD593DBB0E5}"/>
              </a:ext>
            </a:extLst>
          </p:cNvPr>
          <p:cNvSpPr/>
          <p:nvPr/>
        </p:nvSpPr>
        <p:spPr>
          <a:xfrm>
            <a:off x="4994737" y="4560582"/>
            <a:ext cx="37561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s-ES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</a:rPr>
              <a:t>Observa: ¿Qué me puede hacer daño?</a:t>
            </a:r>
            <a:endParaRPr lang="es-CL" sz="1600" dirty="0">
              <a:solidFill>
                <a:schemeClr val="bg2">
                  <a:lumMod val="25000"/>
                </a:schemeClr>
              </a:solidFill>
              <a:latin typeface="ACHS Nueva Sans" pitchFamily="2" charset="0"/>
            </a:endParaRPr>
          </a:p>
        </p:txBody>
      </p:sp>
      <p:sp>
        <p:nvSpPr>
          <p:cNvPr id="89" name="Rectángulo 88">
            <a:extLst>
              <a:ext uri="{FF2B5EF4-FFF2-40B4-BE49-F238E27FC236}">
                <a16:creationId xmlns:a16="http://schemas.microsoft.com/office/drawing/2014/main" xmlns="" id="{4B926D3F-A694-F34A-A731-373B191ED93E}"/>
              </a:ext>
            </a:extLst>
          </p:cNvPr>
          <p:cNvSpPr/>
          <p:nvPr/>
        </p:nvSpPr>
        <p:spPr>
          <a:xfrm>
            <a:off x="5001955" y="5317258"/>
            <a:ext cx="332014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s-ES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</a:rPr>
              <a:t>Distingue: ¿Qué me puede pasar?</a:t>
            </a:r>
            <a:endParaRPr lang="es-CL" sz="1600" dirty="0">
              <a:solidFill>
                <a:schemeClr val="bg2">
                  <a:lumMod val="25000"/>
                </a:schemeClr>
              </a:solidFill>
              <a:latin typeface="ACHS Nueva Sans" pitchFamily="2" charset="0"/>
            </a:endParaRPr>
          </a:p>
          <a:p>
            <a:pPr lvl="0">
              <a:defRPr/>
            </a:pPr>
            <a:endParaRPr lang="es-CL" sz="1600" dirty="0">
              <a:solidFill>
                <a:schemeClr val="bg2">
                  <a:lumMod val="25000"/>
                </a:schemeClr>
              </a:solidFill>
              <a:latin typeface="ACHS Nueva Sans" pitchFamily="2" charset="0"/>
            </a:endParaRPr>
          </a:p>
        </p:txBody>
      </p:sp>
      <p:sp>
        <p:nvSpPr>
          <p:cNvPr id="90" name="Rectángulo 89">
            <a:extLst>
              <a:ext uri="{FF2B5EF4-FFF2-40B4-BE49-F238E27FC236}">
                <a16:creationId xmlns:a16="http://schemas.microsoft.com/office/drawing/2014/main" xmlns="" id="{323A00FC-35A4-2540-9875-C611F464EF7A}"/>
              </a:ext>
            </a:extLst>
          </p:cNvPr>
          <p:cNvSpPr/>
          <p:nvPr/>
        </p:nvSpPr>
        <p:spPr>
          <a:xfrm>
            <a:off x="4998511" y="6138945"/>
            <a:ext cx="25939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s-ES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</a:rPr>
              <a:t>Ejecutar: ¿Cómo lo evito?</a:t>
            </a:r>
            <a:endParaRPr lang="es-CL" sz="1600" dirty="0">
              <a:solidFill>
                <a:schemeClr val="bg2">
                  <a:lumMod val="25000"/>
                </a:schemeClr>
              </a:solidFill>
              <a:latin typeface="ACHS Nueva Sans" pitchFamily="2" charset="0"/>
            </a:endParaRPr>
          </a:p>
        </p:txBody>
      </p:sp>
      <p:pic>
        <p:nvPicPr>
          <p:cNvPr id="93" name="Imagen 92">
            <a:extLst>
              <a:ext uri="{FF2B5EF4-FFF2-40B4-BE49-F238E27FC236}">
                <a16:creationId xmlns:a16="http://schemas.microsoft.com/office/drawing/2014/main" xmlns="" id="{A3E2FF92-39FB-2547-A3A1-4CAB5FC2348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xmlns="" id="{FF4D9130-C203-6747-9285-B9B9A32D62DB}"/>
              </a:ext>
            </a:extLst>
          </p:cNvPr>
          <p:cNvCxnSpPr>
            <a:cxnSpLocks/>
          </p:cNvCxnSpPr>
          <p:nvPr/>
        </p:nvCxnSpPr>
        <p:spPr>
          <a:xfrm>
            <a:off x="407988" y="302781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475426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336;p37">
            <a:extLst>
              <a:ext uri="{FF2B5EF4-FFF2-40B4-BE49-F238E27FC236}">
                <a16:creationId xmlns:a16="http://schemas.microsoft.com/office/drawing/2014/main" xmlns="" id="{37D434B8-F4A7-9C49-8FCA-18288E44B275}"/>
              </a:ext>
            </a:extLst>
          </p:cNvPr>
          <p:cNvSpPr txBox="1"/>
          <p:nvPr/>
        </p:nvSpPr>
        <p:spPr>
          <a:xfrm>
            <a:off x="424293" y="1323896"/>
            <a:ext cx="2553214" cy="1384995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400" b="1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rPr>
              <a:t> 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664412BA-E1FC-4311-8E26-DD0CC45413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" b="3"/>
          <a:stretch/>
        </p:blipFill>
        <p:spPr>
          <a:xfrm>
            <a:off x="3214791" y="611333"/>
            <a:ext cx="5689521" cy="5689343"/>
          </a:xfrm>
          <a:prstGeom prst="ellipse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xmlns="" id="{55103C11-C4D8-410A-8A21-5F724C5A3777}"/>
              </a:ext>
            </a:extLst>
          </p:cNvPr>
          <p:cNvSpPr txBox="1"/>
          <p:nvPr/>
        </p:nvSpPr>
        <p:spPr>
          <a:xfrm>
            <a:off x="489136" y="1107380"/>
            <a:ext cx="244177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ES" sz="1806" b="1" dirty="0">
              <a:solidFill>
                <a:srgbClr val="004A52"/>
              </a:solidFill>
              <a:latin typeface="ACHS Nueva Sans" pitchFamily="2" charset="0"/>
              <a:cs typeface="Arial" panose="020B0604020202020204" pitchFamily="34" charset="0"/>
            </a:endParaRPr>
          </a:p>
          <a:p>
            <a:endParaRPr lang="es-ES" sz="1600" b="1" dirty="0">
              <a:solidFill>
                <a:schemeClr val="tx1">
                  <a:lumMod val="75000"/>
                  <a:lumOff val="25000"/>
                </a:schemeClr>
              </a:solidFill>
              <a:latin typeface="ACHS Nueva Sans" pitchFamily="2" charset="0"/>
              <a:cs typeface="Arial" panose="020B0604020202020204" pitchFamily="34" charset="0"/>
            </a:endParaRPr>
          </a:p>
          <a:p>
            <a:r>
              <a:rPr lang="es-E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uedes aplicar el ODE en cualquier situación de tu vida.</a:t>
            </a:r>
            <a:endParaRPr lang="es-CL" sz="1600" dirty="0">
              <a:solidFill>
                <a:schemeClr val="tx1">
                  <a:lumMod val="75000"/>
                  <a:lumOff val="25000"/>
                </a:schemeClr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EA36D27D-CA05-874E-9029-F951EE4D5E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sp>
        <p:nvSpPr>
          <p:cNvPr id="10" name="Google Shape;1566;p161">
            <a:extLst>
              <a:ext uri="{FF2B5EF4-FFF2-40B4-BE49-F238E27FC236}">
                <a16:creationId xmlns:a16="http://schemas.microsoft.com/office/drawing/2014/main" xmlns="" id="{C4DCDA88-9722-2D48-891B-2C495211540F}"/>
              </a:ext>
            </a:extLst>
          </p:cNvPr>
          <p:cNvSpPr/>
          <p:nvPr/>
        </p:nvSpPr>
        <p:spPr>
          <a:xfrm>
            <a:off x="407988" y="1036366"/>
            <a:ext cx="2604070" cy="464094"/>
          </a:xfrm>
          <a:prstGeom prst="roundRect">
            <a:avLst>
              <a:gd name="adj" fmla="val 26667"/>
            </a:avLst>
          </a:prstGeom>
          <a:solidFill>
            <a:srgbClr val="7DFF45"/>
          </a:solidFill>
          <a:ln>
            <a:noFill/>
          </a:ln>
        </p:spPr>
        <p:txBody>
          <a:bodyPr spcFirstLastPara="1" wrap="square" lIns="68791" tIns="34381" rIns="68791" bIns="34381" anchor="ctr" anchorCtr="0">
            <a:noAutofit/>
          </a:bodyPr>
          <a:lstStyle/>
          <a:p>
            <a:pPr algn="ctr"/>
            <a:r>
              <a:rPr lang="es-ES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Recuerda siempre</a:t>
            </a:r>
            <a:endParaRPr lang="es-ES" sz="1800" b="1" dirty="0">
              <a:solidFill>
                <a:srgbClr val="004A52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4825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7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88550A4-1DE6-C94A-BC55-14734853513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CL" sz="1800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1CA11D24-AD6C-AC46-8A54-D2DA454D3336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4458015A-2076-3643-9D4E-CDA7988B4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12C7EBAE-BCCF-514F-AF4B-FAA87B749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BADBBA6-0D13-1944-BE7F-85F9675DA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E452025A-63DE-FF41-A369-D0B05A53B121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CL" sz="1800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="" xmlns:a16="http://schemas.microsoft.com/office/drawing/2014/main" id="{4FA15053-6531-1C4F-9DAD-F1A98ACE9D4A}"/>
              </a:ext>
            </a:extLst>
          </p:cNvPr>
          <p:cNvSpPr/>
          <p:nvPr/>
        </p:nvSpPr>
        <p:spPr>
          <a:xfrm>
            <a:off x="450000" y="496800"/>
            <a:ext cx="6123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s-CL" sz="20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27589CF8-2A0B-5940-9954-F26613DD4347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7E86D35B-FFA1-F54F-8774-D8E68AC54DB3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3139FFF0-9526-FA40-82E4-BADBAB536699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4C70E9DE-2F32-9642-AD47-9A6C0C48ED7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D78F5B53-66FE-D84A-B65B-7012FCD1C20A}"/>
              </a:ext>
            </a:extLst>
          </p:cNvPr>
          <p:cNvSpPr txBox="1">
            <a:spLocks/>
          </p:cNvSpPr>
          <p:nvPr/>
        </p:nvSpPr>
        <p:spPr>
          <a:xfrm>
            <a:off x="5737689" y="2905125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t</a:t>
            </a: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inyurl.com/</a:t>
            </a:r>
            <a:r>
              <a:rPr lang="es-CL" sz="2400" u="sng" kern="0" dirty="0">
                <a:solidFill>
                  <a:srgbClr val="15C047"/>
                </a:solidFill>
              </a:rPr>
              <a:t>rxm3zy35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C50A787F-09EE-A148-BBF9-46923C6CB78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28958" y="2578100"/>
            <a:ext cx="1692424" cy="1701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04164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F8D277AE-C60C-8245-81E6-E15C1B7E1B3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CL" sz="1800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73348561-921E-344F-A72B-19BDA9CAB6ED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432A776A-BF7B-BB46-8762-2FA3E11F4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59C2DBAC-EE7F-2E4E-A7FA-7DEB62758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C2A70D82-86AA-7C41-AAC2-4F88BF79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B6387BF9-0F61-2D4E-A120-4F288EDAE62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CL" sz="1800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="" xmlns:a16="http://schemas.microsoft.com/office/drawing/2014/main" id="{670FEB82-F7CF-D043-985C-783DDD13C7D4}"/>
              </a:ext>
            </a:extLst>
          </p:cNvPr>
          <p:cNvSpPr/>
          <p:nvPr/>
        </p:nvSpPr>
        <p:spPr>
          <a:xfrm>
            <a:off x="450000" y="496800"/>
            <a:ext cx="6123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s-CL" sz="20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ADE4072A-0E18-2D42-95AC-B147F88E4A6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0AC4C99A-FBC1-E34E-98B4-212F0F61514A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D799C167-C865-6B44-A263-891460E2A8DD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16E3E300-634B-C448-95F3-6291B64DE4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D017B122-CEB0-8A4F-B99D-3761E6F821F0}"/>
              </a:ext>
            </a:extLst>
          </p:cNvPr>
          <p:cNvSpPr txBox="1">
            <a:spLocks/>
          </p:cNvSpPr>
          <p:nvPr/>
        </p:nvSpPr>
        <p:spPr>
          <a:xfrm>
            <a:off x="5851683" y="3038490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t</a:t>
            </a: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inyurl.com/</a:t>
            </a:r>
            <a:r>
              <a:rPr lang="es-CL" sz="2400" u="sng" kern="0" dirty="0">
                <a:solidFill>
                  <a:srgbClr val="15C047"/>
                </a:solidFill>
              </a:rPr>
              <a:t>wtus2r43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02EF3BD-7D21-134F-A18F-2593E24BF94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01759" y="2576379"/>
            <a:ext cx="1705240" cy="17052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06068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30">
            <a:extLst>
              <a:ext uri="{FF2B5EF4-FFF2-40B4-BE49-F238E27FC236}">
                <a16:creationId xmlns:a16="http://schemas.microsoft.com/office/drawing/2014/main" xmlns="" id="{80832A9A-ADDB-E845-8443-9D1670CD83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31517" y="305593"/>
            <a:ext cx="4652253" cy="459111"/>
          </a:xfrm>
        </p:spPr>
        <p:txBody>
          <a:bodyPr/>
          <a:lstStyle/>
          <a:p>
            <a:pPr algn="l"/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Antes de comenzar</a:t>
            </a:r>
          </a:p>
        </p:txBody>
      </p: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xmlns="" id="{185C9885-D717-A34A-8DC7-0B23DA293555}"/>
              </a:ext>
            </a:extLst>
          </p:cNvPr>
          <p:cNvCxnSpPr>
            <a:cxnSpLocks/>
          </p:cNvCxnSpPr>
          <p:nvPr/>
        </p:nvCxnSpPr>
        <p:spPr>
          <a:xfrm>
            <a:off x="406400" y="310867"/>
            <a:ext cx="1281206" cy="0"/>
          </a:xfrm>
          <a:prstGeom prst="line">
            <a:avLst/>
          </a:prstGeom>
          <a:noFill/>
          <a:ln w="22225" cap="flat">
            <a:solidFill>
              <a:srgbClr val="15C047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Rectángulo 15">
            <a:extLst>
              <a:ext uri="{FF2B5EF4-FFF2-40B4-BE49-F238E27FC236}">
                <a16:creationId xmlns:a16="http://schemas.microsoft.com/office/drawing/2014/main" xmlns="" id="{B0280DF8-E4F5-EE45-AC01-716811184F9D}"/>
              </a:ext>
            </a:extLst>
          </p:cNvPr>
          <p:cNvSpPr/>
          <p:nvPr/>
        </p:nvSpPr>
        <p:spPr>
          <a:xfrm>
            <a:off x="-1056710" y="-2672574"/>
            <a:ext cx="503777" cy="447751"/>
          </a:xfrm>
          <a:prstGeom prst="rect">
            <a:avLst/>
          </a:prstGeom>
          <a:solidFill>
            <a:srgbClr val="7EF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5E6D79B3-7594-5A44-ABDF-D7158FC3F645}"/>
              </a:ext>
            </a:extLst>
          </p:cNvPr>
          <p:cNvSpPr/>
          <p:nvPr/>
        </p:nvSpPr>
        <p:spPr>
          <a:xfrm>
            <a:off x="-1056710" y="-2025207"/>
            <a:ext cx="503777" cy="447751"/>
          </a:xfrm>
          <a:prstGeom prst="rect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7175E1E6-455B-F24C-B52A-CA5A06B542E2}"/>
              </a:ext>
            </a:extLst>
          </p:cNvPr>
          <p:cNvSpPr/>
          <p:nvPr/>
        </p:nvSpPr>
        <p:spPr>
          <a:xfrm>
            <a:off x="-1056710" y="-1101183"/>
            <a:ext cx="503777" cy="447751"/>
          </a:xfrm>
          <a:prstGeom prst="rect">
            <a:avLst/>
          </a:prstGeom>
          <a:solidFill>
            <a:srgbClr val="13C0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xmlns="" id="{0EBA33B8-B476-6B41-89F4-C47E287E5AC6}"/>
              </a:ext>
            </a:extLst>
          </p:cNvPr>
          <p:cNvSpPr/>
          <p:nvPr/>
        </p:nvSpPr>
        <p:spPr>
          <a:xfrm>
            <a:off x="-1075148" y="-410616"/>
            <a:ext cx="503777" cy="447751"/>
          </a:xfrm>
          <a:prstGeom prst="rect">
            <a:avLst/>
          </a:prstGeom>
          <a:solidFill>
            <a:srgbClr val="004C1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6B88693E-3C11-DE4B-A140-3BBCE36E03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sp>
        <p:nvSpPr>
          <p:cNvPr id="54" name="Marcador de texto 4">
            <a:extLst>
              <a:ext uri="{FF2B5EF4-FFF2-40B4-BE49-F238E27FC236}">
                <a16:creationId xmlns:a16="http://schemas.microsoft.com/office/drawing/2014/main" xmlns="" id="{049B27B7-1A13-1748-8640-33287DE90276}"/>
              </a:ext>
            </a:extLst>
          </p:cNvPr>
          <p:cNvSpPr txBox="1">
            <a:spLocks/>
          </p:cNvSpPr>
          <p:nvPr/>
        </p:nvSpPr>
        <p:spPr>
          <a:xfrm>
            <a:off x="945990" y="2208672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rgbClr val="004C14"/>
                </a:solidFill>
                <a:latin typeface="ACHS Nueva Sans" pitchFamily="2" charset="0"/>
              </a:rPr>
              <a:t>01</a:t>
            </a:r>
            <a:endParaRPr lang="es-CL" sz="4800" dirty="0">
              <a:solidFill>
                <a:srgbClr val="004C14"/>
              </a:solidFill>
              <a:latin typeface="ACHS Nueva Sans" pitchFamily="2" charset="0"/>
            </a:endParaRPr>
          </a:p>
        </p:txBody>
      </p:sp>
      <p:sp>
        <p:nvSpPr>
          <p:cNvPr id="55" name="Marcador de texto 4">
            <a:extLst>
              <a:ext uri="{FF2B5EF4-FFF2-40B4-BE49-F238E27FC236}">
                <a16:creationId xmlns:a16="http://schemas.microsoft.com/office/drawing/2014/main" xmlns="" id="{E1265115-84F7-514C-B591-07F430820428}"/>
              </a:ext>
            </a:extLst>
          </p:cNvPr>
          <p:cNvSpPr txBox="1">
            <a:spLocks/>
          </p:cNvSpPr>
          <p:nvPr/>
        </p:nvSpPr>
        <p:spPr>
          <a:xfrm>
            <a:off x="3831053" y="2213429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rgbClr val="004C14"/>
                </a:solidFill>
                <a:latin typeface="ACHS Nueva Sans" pitchFamily="2" charset="0"/>
              </a:rPr>
              <a:t>02</a:t>
            </a:r>
            <a:endParaRPr lang="es-CL" sz="4800" dirty="0">
              <a:solidFill>
                <a:srgbClr val="004C14"/>
              </a:solidFill>
              <a:latin typeface="ACHS Nueva Sans" pitchFamily="2" charset="0"/>
            </a:endParaRPr>
          </a:p>
        </p:txBody>
      </p:sp>
      <p:sp>
        <p:nvSpPr>
          <p:cNvPr id="56" name="Marcador de texto 4">
            <a:extLst>
              <a:ext uri="{FF2B5EF4-FFF2-40B4-BE49-F238E27FC236}">
                <a16:creationId xmlns:a16="http://schemas.microsoft.com/office/drawing/2014/main" xmlns="" id="{D76607D5-7A18-9343-93F0-125C4E769D3C}"/>
              </a:ext>
            </a:extLst>
          </p:cNvPr>
          <p:cNvSpPr txBox="1">
            <a:spLocks/>
          </p:cNvSpPr>
          <p:nvPr/>
        </p:nvSpPr>
        <p:spPr>
          <a:xfrm>
            <a:off x="6933091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rgbClr val="004C14"/>
                </a:solidFill>
                <a:latin typeface="ACHS Nueva Sans" pitchFamily="2" charset="0"/>
              </a:rPr>
              <a:t>03</a:t>
            </a:r>
            <a:endParaRPr lang="es-CL" sz="4800" dirty="0">
              <a:solidFill>
                <a:srgbClr val="004C14"/>
              </a:solidFill>
              <a:latin typeface="ACHS Nueva Sans" pitchFamily="2" charset="0"/>
            </a:endParaRPr>
          </a:p>
        </p:txBody>
      </p:sp>
      <p:sp>
        <p:nvSpPr>
          <p:cNvPr id="57" name="Marcador de texto 4">
            <a:extLst>
              <a:ext uri="{FF2B5EF4-FFF2-40B4-BE49-F238E27FC236}">
                <a16:creationId xmlns:a16="http://schemas.microsoft.com/office/drawing/2014/main" xmlns="" id="{69C8450A-B5AD-7D49-B37E-57D4885212F4}"/>
              </a:ext>
            </a:extLst>
          </p:cNvPr>
          <p:cNvSpPr txBox="1">
            <a:spLocks/>
          </p:cNvSpPr>
          <p:nvPr/>
        </p:nvSpPr>
        <p:spPr>
          <a:xfrm>
            <a:off x="10004130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rgbClr val="004C14"/>
                </a:solidFill>
                <a:latin typeface="ACHS Nueva Sans" pitchFamily="2" charset="0"/>
              </a:rPr>
              <a:t>04</a:t>
            </a:r>
            <a:endParaRPr lang="es-CL" sz="4800" dirty="0">
              <a:solidFill>
                <a:srgbClr val="004C14"/>
              </a:solidFill>
              <a:latin typeface="ACHS Nueva Sans" pitchFamily="2" charset="0"/>
            </a:endParaRPr>
          </a:p>
        </p:txBody>
      </p:sp>
      <p:sp>
        <p:nvSpPr>
          <p:cNvPr id="58" name="Marcador de texto 5">
            <a:extLst>
              <a:ext uri="{FF2B5EF4-FFF2-40B4-BE49-F238E27FC236}">
                <a16:creationId xmlns:a16="http://schemas.microsoft.com/office/drawing/2014/main" xmlns="" id="{2F738D1F-508D-3948-868F-291F6BC59FF1}"/>
              </a:ext>
            </a:extLst>
          </p:cNvPr>
          <p:cNvSpPr txBox="1">
            <a:spLocks/>
          </p:cNvSpPr>
          <p:nvPr/>
        </p:nvSpPr>
        <p:spPr>
          <a:xfrm>
            <a:off x="1003428" y="4633669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rgbClr val="004C14"/>
                </a:solidFill>
                <a:latin typeface="ACHS Nueva Sans" pitchFamily="2" charset="0"/>
              </a:rPr>
              <a:t>Bienvenida y presentación</a:t>
            </a:r>
          </a:p>
        </p:txBody>
      </p:sp>
      <p:sp>
        <p:nvSpPr>
          <p:cNvPr id="59" name="Marcador de texto 5">
            <a:extLst>
              <a:ext uri="{FF2B5EF4-FFF2-40B4-BE49-F238E27FC236}">
                <a16:creationId xmlns:a16="http://schemas.microsoft.com/office/drawing/2014/main" xmlns="" id="{01357F97-BA23-2047-B523-E1DF38700A17}"/>
              </a:ext>
            </a:extLst>
          </p:cNvPr>
          <p:cNvSpPr txBox="1">
            <a:spLocks/>
          </p:cNvSpPr>
          <p:nvPr/>
        </p:nvSpPr>
        <p:spPr>
          <a:xfrm>
            <a:off x="3844118" y="4629414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rgbClr val="004C14"/>
                </a:solidFill>
                <a:latin typeface="ACHS Nueva Sans" pitchFamily="2" charset="0"/>
              </a:rPr>
              <a:t>Objetivos</a:t>
            </a:r>
          </a:p>
          <a:p>
            <a:pPr algn="ctr"/>
            <a:endParaRPr lang="es-CL" b="1" dirty="0">
              <a:solidFill>
                <a:srgbClr val="004C14"/>
              </a:solidFill>
              <a:latin typeface="ACHS Nueva Sans" pitchFamily="2" charset="0"/>
            </a:endParaRPr>
          </a:p>
        </p:txBody>
      </p:sp>
      <p:sp>
        <p:nvSpPr>
          <p:cNvPr id="60" name="Marcador de texto 5">
            <a:extLst>
              <a:ext uri="{FF2B5EF4-FFF2-40B4-BE49-F238E27FC236}">
                <a16:creationId xmlns:a16="http://schemas.microsoft.com/office/drawing/2014/main" xmlns="" id="{39D38EEE-4014-FA4C-AD70-8DC871720746}"/>
              </a:ext>
            </a:extLst>
          </p:cNvPr>
          <p:cNvSpPr txBox="1">
            <a:spLocks/>
          </p:cNvSpPr>
          <p:nvPr/>
        </p:nvSpPr>
        <p:spPr>
          <a:xfrm>
            <a:off x="9830969" y="4625304"/>
            <a:ext cx="1659132" cy="6209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rgbClr val="004C14"/>
                </a:solidFill>
                <a:latin typeface="ACHS Nueva Sans" pitchFamily="2" charset="0"/>
              </a:rPr>
              <a:t>Chats</a:t>
            </a:r>
          </a:p>
        </p:txBody>
      </p:sp>
      <p:sp>
        <p:nvSpPr>
          <p:cNvPr id="61" name="Marcador de texto 5">
            <a:extLst>
              <a:ext uri="{FF2B5EF4-FFF2-40B4-BE49-F238E27FC236}">
                <a16:creationId xmlns:a16="http://schemas.microsoft.com/office/drawing/2014/main" xmlns="" id="{0CA50703-A45C-CE4B-A11E-33C8CCA0AF1B}"/>
              </a:ext>
            </a:extLst>
          </p:cNvPr>
          <p:cNvSpPr txBox="1">
            <a:spLocks/>
          </p:cNvSpPr>
          <p:nvPr/>
        </p:nvSpPr>
        <p:spPr>
          <a:xfrm>
            <a:off x="7037481" y="4625303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rgbClr val="004C14"/>
                </a:solidFill>
                <a:latin typeface="ACHS Nueva Sans" pitchFamily="2" charset="0"/>
              </a:rPr>
              <a:t>Preguntas </a:t>
            </a:r>
          </a:p>
          <a:p>
            <a:pPr algn="ctr"/>
            <a:endParaRPr lang="es-CL" b="1" dirty="0">
              <a:solidFill>
                <a:srgbClr val="004C14"/>
              </a:solidFill>
              <a:latin typeface="ACHS Nueva Sans" pitchFamily="2" charset="0"/>
            </a:endParaRPr>
          </a:p>
        </p:txBody>
      </p:sp>
      <p:pic>
        <p:nvPicPr>
          <p:cNvPr id="62" name="Imagen 61">
            <a:extLst>
              <a:ext uri="{FF2B5EF4-FFF2-40B4-BE49-F238E27FC236}">
                <a16:creationId xmlns:a16="http://schemas.microsoft.com/office/drawing/2014/main" xmlns="" id="{C4D7C4F8-D264-E84F-8B23-480854ABFD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3428" y="3124588"/>
            <a:ext cx="1481153" cy="1071472"/>
          </a:xfrm>
          <a:prstGeom prst="rect">
            <a:avLst/>
          </a:prstGeom>
        </p:spPr>
      </p:pic>
      <p:pic>
        <p:nvPicPr>
          <p:cNvPr id="63" name="Imagen 62">
            <a:extLst>
              <a:ext uri="{FF2B5EF4-FFF2-40B4-BE49-F238E27FC236}">
                <a16:creationId xmlns:a16="http://schemas.microsoft.com/office/drawing/2014/main" xmlns="" id="{78114116-8E6A-2747-BA5D-C2C286353D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4080" y="2934164"/>
            <a:ext cx="922622" cy="1336212"/>
          </a:xfrm>
          <a:prstGeom prst="rect">
            <a:avLst/>
          </a:prstGeom>
        </p:spPr>
      </p:pic>
      <p:pic>
        <p:nvPicPr>
          <p:cNvPr id="64" name="Imagen 63">
            <a:extLst>
              <a:ext uri="{FF2B5EF4-FFF2-40B4-BE49-F238E27FC236}">
                <a16:creationId xmlns:a16="http://schemas.microsoft.com/office/drawing/2014/main" xmlns="" id="{3F3780EF-3C3C-9946-A61F-BB91BF6061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52863" y="3120478"/>
            <a:ext cx="1102987" cy="1039959"/>
          </a:xfrm>
          <a:prstGeom prst="rect">
            <a:avLst/>
          </a:prstGeom>
        </p:spPr>
      </p:pic>
      <p:grpSp>
        <p:nvGrpSpPr>
          <p:cNvPr id="67" name="Google Shape;3782;p111">
            <a:extLst>
              <a:ext uri="{FF2B5EF4-FFF2-40B4-BE49-F238E27FC236}">
                <a16:creationId xmlns:a16="http://schemas.microsoft.com/office/drawing/2014/main" xmlns="" id="{A7638693-C7A1-4D44-89CF-081BDF9A5BD8}"/>
              </a:ext>
            </a:extLst>
          </p:cNvPr>
          <p:cNvGrpSpPr/>
          <p:nvPr/>
        </p:nvGrpSpPr>
        <p:grpSpPr>
          <a:xfrm>
            <a:off x="7207278" y="3007909"/>
            <a:ext cx="1264986" cy="1262467"/>
            <a:chOff x="5377" y="1016"/>
            <a:chExt cx="502" cy="501"/>
          </a:xfrm>
          <a:solidFill>
            <a:srgbClr val="15C045"/>
          </a:solidFill>
        </p:grpSpPr>
        <p:sp>
          <p:nvSpPr>
            <p:cNvPr id="68" name="Google Shape;3783;p111">
              <a:extLst>
                <a:ext uri="{FF2B5EF4-FFF2-40B4-BE49-F238E27FC236}">
                  <a16:creationId xmlns:a16="http://schemas.microsoft.com/office/drawing/2014/main" xmlns="" id="{5223391A-4A06-974F-AED6-26C56A71E9C3}"/>
                </a:ext>
              </a:extLst>
            </p:cNvPr>
            <p:cNvSpPr/>
            <p:nvPr/>
          </p:nvSpPr>
          <p:spPr>
            <a:xfrm>
              <a:off x="5618" y="1016"/>
              <a:ext cx="261" cy="283"/>
            </a:xfrm>
            <a:custGeom>
              <a:avLst/>
              <a:gdLst/>
              <a:ahLst/>
              <a:cxnLst/>
              <a:rect l="l" t="t" r="r" b="b"/>
              <a:pathLst>
                <a:path w="428" h="466" extrusionOk="0">
                  <a:moveTo>
                    <a:pt x="277" y="433"/>
                  </a:moveTo>
                  <a:lnTo>
                    <a:pt x="277" y="433"/>
                  </a:lnTo>
                  <a:lnTo>
                    <a:pt x="32" y="433"/>
                  </a:lnTo>
                  <a:lnTo>
                    <a:pt x="32" y="381"/>
                  </a:lnTo>
                  <a:cubicBezTo>
                    <a:pt x="32" y="321"/>
                    <a:pt x="77" y="272"/>
                    <a:pt x="134" y="264"/>
                  </a:cubicBezTo>
                  <a:lnTo>
                    <a:pt x="203" y="333"/>
                  </a:lnTo>
                  <a:cubicBezTo>
                    <a:pt x="206" y="336"/>
                    <a:pt x="210" y="337"/>
                    <a:pt x="214" y="337"/>
                  </a:cubicBezTo>
                  <a:cubicBezTo>
                    <a:pt x="218" y="337"/>
                    <a:pt x="222" y="336"/>
                    <a:pt x="225" y="333"/>
                  </a:cubicBezTo>
                  <a:lnTo>
                    <a:pt x="294" y="264"/>
                  </a:lnTo>
                  <a:cubicBezTo>
                    <a:pt x="351" y="272"/>
                    <a:pt x="396" y="321"/>
                    <a:pt x="396" y="381"/>
                  </a:cubicBezTo>
                  <a:lnTo>
                    <a:pt x="396" y="433"/>
                  </a:lnTo>
                  <a:lnTo>
                    <a:pt x="277" y="433"/>
                  </a:lnTo>
                  <a:close/>
                  <a:moveTo>
                    <a:pt x="249" y="263"/>
                  </a:moveTo>
                  <a:lnTo>
                    <a:pt x="249" y="263"/>
                  </a:lnTo>
                  <a:lnTo>
                    <a:pt x="214" y="298"/>
                  </a:lnTo>
                  <a:lnTo>
                    <a:pt x="179" y="263"/>
                  </a:lnTo>
                  <a:lnTo>
                    <a:pt x="249" y="263"/>
                  </a:lnTo>
                  <a:close/>
                  <a:moveTo>
                    <a:pt x="143" y="135"/>
                  </a:moveTo>
                  <a:lnTo>
                    <a:pt x="143" y="135"/>
                  </a:lnTo>
                  <a:lnTo>
                    <a:pt x="251" y="135"/>
                  </a:lnTo>
                  <a:cubicBezTo>
                    <a:pt x="263" y="135"/>
                    <a:pt x="275" y="131"/>
                    <a:pt x="285" y="125"/>
                  </a:cubicBezTo>
                  <a:lnTo>
                    <a:pt x="285" y="160"/>
                  </a:lnTo>
                  <a:cubicBezTo>
                    <a:pt x="285" y="199"/>
                    <a:pt x="253" y="231"/>
                    <a:pt x="214" y="231"/>
                  </a:cubicBezTo>
                  <a:cubicBezTo>
                    <a:pt x="175" y="231"/>
                    <a:pt x="143" y="199"/>
                    <a:pt x="143" y="160"/>
                  </a:cubicBezTo>
                  <a:lnTo>
                    <a:pt x="143" y="135"/>
                  </a:lnTo>
                  <a:close/>
                  <a:moveTo>
                    <a:pt x="143" y="102"/>
                  </a:moveTo>
                  <a:lnTo>
                    <a:pt x="143" y="102"/>
                  </a:lnTo>
                  <a:lnTo>
                    <a:pt x="143" y="81"/>
                  </a:lnTo>
                  <a:cubicBezTo>
                    <a:pt x="143" y="53"/>
                    <a:pt x="165" y="31"/>
                    <a:pt x="193" y="31"/>
                  </a:cubicBezTo>
                  <a:lnTo>
                    <a:pt x="285" y="31"/>
                  </a:lnTo>
                  <a:lnTo>
                    <a:pt x="285" y="68"/>
                  </a:lnTo>
                  <a:cubicBezTo>
                    <a:pt x="285" y="87"/>
                    <a:pt x="270" y="103"/>
                    <a:pt x="251" y="103"/>
                  </a:cubicBezTo>
                  <a:lnTo>
                    <a:pt x="143" y="103"/>
                  </a:lnTo>
                  <a:lnTo>
                    <a:pt x="143" y="102"/>
                  </a:lnTo>
                  <a:close/>
                  <a:moveTo>
                    <a:pt x="292" y="232"/>
                  </a:moveTo>
                  <a:lnTo>
                    <a:pt x="292" y="232"/>
                  </a:lnTo>
                  <a:cubicBezTo>
                    <a:pt x="291" y="231"/>
                    <a:pt x="290" y="231"/>
                    <a:pt x="289" y="231"/>
                  </a:cubicBezTo>
                  <a:cubicBezTo>
                    <a:pt x="306" y="213"/>
                    <a:pt x="317" y="188"/>
                    <a:pt x="317" y="160"/>
                  </a:cubicBezTo>
                  <a:lnTo>
                    <a:pt x="317" y="75"/>
                  </a:lnTo>
                  <a:cubicBezTo>
                    <a:pt x="317" y="75"/>
                    <a:pt x="317" y="74"/>
                    <a:pt x="317" y="73"/>
                  </a:cubicBezTo>
                  <a:cubicBezTo>
                    <a:pt x="317" y="72"/>
                    <a:pt x="317" y="70"/>
                    <a:pt x="317" y="68"/>
                  </a:cubicBezTo>
                  <a:lnTo>
                    <a:pt x="317" y="15"/>
                  </a:lnTo>
                  <a:cubicBezTo>
                    <a:pt x="317" y="7"/>
                    <a:pt x="310" y="0"/>
                    <a:pt x="301" y="0"/>
                  </a:cubicBezTo>
                  <a:lnTo>
                    <a:pt x="193" y="0"/>
                  </a:lnTo>
                  <a:cubicBezTo>
                    <a:pt x="148" y="0"/>
                    <a:pt x="111" y="36"/>
                    <a:pt x="111" y="81"/>
                  </a:cubicBezTo>
                  <a:lnTo>
                    <a:pt x="111" y="160"/>
                  </a:lnTo>
                  <a:cubicBezTo>
                    <a:pt x="111" y="188"/>
                    <a:pt x="121" y="213"/>
                    <a:pt x="139" y="231"/>
                  </a:cubicBezTo>
                  <a:cubicBezTo>
                    <a:pt x="138" y="231"/>
                    <a:pt x="137" y="231"/>
                    <a:pt x="136" y="232"/>
                  </a:cubicBezTo>
                  <a:cubicBezTo>
                    <a:pt x="59" y="239"/>
                    <a:pt x="0" y="303"/>
                    <a:pt x="0" y="381"/>
                  </a:cubicBezTo>
                  <a:lnTo>
                    <a:pt x="0" y="450"/>
                  </a:lnTo>
                  <a:cubicBezTo>
                    <a:pt x="0" y="458"/>
                    <a:pt x="7" y="466"/>
                    <a:pt x="16" y="466"/>
                  </a:cubicBezTo>
                  <a:lnTo>
                    <a:pt x="277" y="466"/>
                  </a:lnTo>
                  <a:lnTo>
                    <a:pt x="410" y="466"/>
                  </a:lnTo>
                  <a:lnTo>
                    <a:pt x="412" y="466"/>
                  </a:lnTo>
                  <a:cubicBezTo>
                    <a:pt x="421" y="466"/>
                    <a:pt x="428" y="459"/>
                    <a:pt x="428" y="450"/>
                  </a:cubicBezTo>
                  <a:lnTo>
                    <a:pt x="428" y="381"/>
                  </a:lnTo>
                  <a:cubicBezTo>
                    <a:pt x="428" y="303"/>
                    <a:pt x="368" y="239"/>
                    <a:pt x="292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3784;p111">
              <a:extLst>
                <a:ext uri="{FF2B5EF4-FFF2-40B4-BE49-F238E27FC236}">
                  <a16:creationId xmlns:a16="http://schemas.microsoft.com/office/drawing/2014/main" xmlns="" id="{DB8995BB-D1E4-0141-AA37-34E7AA96947B}"/>
                </a:ext>
              </a:extLst>
            </p:cNvPr>
            <p:cNvSpPr/>
            <p:nvPr/>
          </p:nvSpPr>
          <p:spPr>
            <a:xfrm>
              <a:off x="5377" y="1016"/>
              <a:ext cx="265" cy="183"/>
            </a:xfrm>
            <a:custGeom>
              <a:avLst/>
              <a:gdLst/>
              <a:ahLst/>
              <a:cxnLst/>
              <a:rect l="l" t="t" r="r" b="b"/>
              <a:pathLst>
                <a:path w="436" h="302" extrusionOk="0">
                  <a:moveTo>
                    <a:pt x="80" y="302"/>
                  </a:moveTo>
                  <a:lnTo>
                    <a:pt x="80" y="302"/>
                  </a:lnTo>
                  <a:lnTo>
                    <a:pt x="282" y="302"/>
                  </a:lnTo>
                  <a:cubicBezTo>
                    <a:pt x="316" y="302"/>
                    <a:pt x="345" y="282"/>
                    <a:pt x="357" y="252"/>
                  </a:cubicBezTo>
                  <a:lnTo>
                    <a:pt x="419" y="252"/>
                  </a:lnTo>
                  <a:cubicBezTo>
                    <a:pt x="425" y="252"/>
                    <a:pt x="431" y="248"/>
                    <a:pt x="434" y="242"/>
                  </a:cubicBezTo>
                  <a:cubicBezTo>
                    <a:pt x="436" y="236"/>
                    <a:pt x="435" y="229"/>
                    <a:pt x="430" y="224"/>
                  </a:cubicBezTo>
                  <a:lnTo>
                    <a:pt x="363" y="157"/>
                  </a:lnTo>
                  <a:lnTo>
                    <a:pt x="363" y="79"/>
                  </a:lnTo>
                  <a:cubicBezTo>
                    <a:pt x="363" y="35"/>
                    <a:pt x="327" y="0"/>
                    <a:pt x="282" y="0"/>
                  </a:cubicBezTo>
                  <a:lnTo>
                    <a:pt x="80" y="0"/>
                  </a:lnTo>
                  <a:cubicBezTo>
                    <a:pt x="36" y="0"/>
                    <a:pt x="0" y="35"/>
                    <a:pt x="0" y="79"/>
                  </a:cubicBezTo>
                  <a:lnTo>
                    <a:pt x="0" y="221"/>
                  </a:lnTo>
                  <a:cubicBezTo>
                    <a:pt x="0" y="265"/>
                    <a:pt x="36" y="302"/>
                    <a:pt x="80" y="302"/>
                  </a:cubicBezTo>
                  <a:close/>
                  <a:moveTo>
                    <a:pt x="32" y="79"/>
                  </a:moveTo>
                  <a:lnTo>
                    <a:pt x="32" y="79"/>
                  </a:lnTo>
                  <a:cubicBezTo>
                    <a:pt x="32" y="53"/>
                    <a:pt x="53" y="31"/>
                    <a:pt x="80" y="31"/>
                  </a:cubicBezTo>
                  <a:lnTo>
                    <a:pt x="282" y="31"/>
                  </a:lnTo>
                  <a:cubicBezTo>
                    <a:pt x="309" y="31"/>
                    <a:pt x="331" y="53"/>
                    <a:pt x="331" y="79"/>
                  </a:cubicBezTo>
                  <a:lnTo>
                    <a:pt x="331" y="163"/>
                  </a:lnTo>
                  <a:cubicBezTo>
                    <a:pt x="331" y="168"/>
                    <a:pt x="332" y="172"/>
                    <a:pt x="335" y="175"/>
                  </a:cubicBezTo>
                  <a:lnTo>
                    <a:pt x="380" y="219"/>
                  </a:lnTo>
                  <a:lnTo>
                    <a:pt x="345" y="219"/>
                  </a:lnTo>
                  <a:cubicBezTo>
                    <a:pt x="338" y="219"/>
                    <a:pt x="331" y="225"/>
                    <a:pt x="329" y="232"/>
                  </a:cubicBezTo>
                  <a:cubicBezTo>
                    <a:pt x="324" y="254"/>
                    <a:pt x="305" y="269"/>
                    <a:pt x="282" y="269"/>
                  </a:cubicBezTo>
                  <a:lnTo>
                    <a:pt x="80" y="269"/>
                  </a:lnTo>
                  <a:cubicBezTo>
                    <a:pt x="53" y="269"/>
                    <a:pt x="32" y="248"/>
                    <a:pt x="32" y="221"/>
                  </a:cubicBezTo>
                  <a:lnTo>
                    <a:pt x="32" y="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3785;p111">
              <a:extLst>
                <a:ext uri="{FF2B5EF4-FFF2-40B4-BE49-F238E27FC236}">
                  <a16:creationId xmlns:a16="http://schemas.microsoft.com/office/drawing/2014/main" xmlns="" id="{6A867B6E-5218-1142-BD90-923261B7E17A}"/>
                </a:ext>
              </a:extLst>
            </p:cNvPr>
            <p:cNvSpPr/>
            <p:nvPr/>
          </p:nvSpPr>
          <p:spPr>
            <a:xfrm>
              <a:off x="5434" y="1079"/>
              <a:ext cx="106" cy="60"/>
            </a:xfrm>
            <a:custGeom>
              <a:avLst/>
              <a:gdLst/>
              <a:ahLst/>
              <a:cxnLst/>
              <a:rect l="l" t="t" r="r" b="b"/>
              <a:pathLst>
                <a:path w="174" h="99" extrusionOk="0">
                  <a:moveTo>
                    <a:pt x="158" y="33"/>
                  </a:moveTo>
                  <a:lnTo>
                    <a:pt x="158" y="33"/>
                  </a:lnTo>
                  <a:lnTo>
                    <a:pt x="17" y="33"/>
                  </a:lnTo>
                  <a:cubicBezTo>
                    <a:pt x="8" y="33"/>
                    <a:pt x="0" y="25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lnTo>
                    <a:pt x="158" y="0"/>
                  </a:lnTo>
                  <a:cubicBezTo>
                    <a:pt x="167" y="0"/>
                    <a:pt x="174" y="8"/>
                    <a:pt x="174" y="17"/>
                  </a:cubicBezTo>
                  <a:cubicBezTo>
                    <a:pt x="174" y="25"/>
                    <a:pt x="167" y="33"/>
                    <a:pt x="158" y="33"/>
                  </a:cubicBezTo>
                  <a:close/>
                  <a:moveTo>
                    <a:pt x="158" y="99"/>
                  </a:moveTo>
                  <a:lnTo>
                    <a:pt x="158" y="99"/>
                  </a:lnTo>
                  <a:lnTo>
                    <a:pt x="17" y="99"/>
                  </a:lnTo>
                  <a:cubicBezTo>
                    <a:pt x="8" y="99"/>
                    <a:pt x="0" y="92"/>
                    <a:pt x="0" y="83"/>
                  </a:cubicBezTo>
                  <a:cubicBezTo>
                    <a:pt x="0" y="74"/>
                    <a:pt x="8" y="67"/>
                    <a:pt x="17" y="67"/>
                  </a:cubicBezTo>
                  <a:lnTo>
                    <a:pt x="158" y="67"/>
                  </a:lnTo>
                  <a:cubicBezTo>
                    <a:pt x="167" y="67"/>
                    <a:pt x="174" y="74"/>
                    <a:pt x="174" y="83"/>
                  </a:cubicBezTo>
                  <a:cubicBezTo>
                    <a:pt x="174" y="92"/>
                    <a:pt x="167" y="99"/>
                    <a:pt x="158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3786;p111">
              <a:extLst>
                <a:ext uri="{FF2B5EF4-FFF2-40B4-BE49-F238E27FC236}">
                  <a16:creationId xmlns:a16="http://schemas.microsoft.com/office/drawing/2014/main" xmlns="" id="{3820CE13-1A0B-5541-B65F-431B0066AC13}"/>
                </a:ext>
              </a:extLst>
            </p:cNvPr>
            <p:cNvSpPr/>
            <p:nvPr/>
          </p:nvSpPr>
          <p:spPr>
            <a:xfrm>
              <a:off x="5717" y="1397"/>
              <a:ext cx="106" cy="61"/>
            </a:xfrm>
            <a:custGeom>
              <a:avLst/>
              <a:gdLst/>
              <a:ahLst/>
              <a:cxnLst/>
              <a:rect l="l" t="t" r="r" b="b"/>
              <a:pathLst>
                <a:path w="174" h="99" extrusionOk="0">
                  <a:moveTo>
                    <a:pt x="158" y="32"/>
                  </a:moveTo>
                  <a:lnTo>
                    <a:pt x="158" y="32"/>
                  </a:lnTo>
                  <a:lnTo>
                    <a:pt x="16" y="32"/>
                  </a:ln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lnTo>
                    <a:pt x="158" y="0"/>
                  </a:lnTo>
                  <a:cubicBezTo>
                    <a:pt x="167" y="0"/>
                    <a:pt x="174" y="7"/>
                    <a:pt x="174" y="16"/>
                  </a:cubicBezTo>
                  <a:cubicBezTo>
                    <a:pt x="174" y="25"/>
                    <a:pt x="167" y="32"/>
                    <a:pt x="158" y="32"/>
                  </a:cubicBezTo>
                  <a:close/>
                  <a:moveTo>
                    <a:pt x="158" y="99"/>
                  </a:moveTo>
                  <a:lnTo>
                    <a:pt x="158" y="99"/>
                  </a:lnTo>
                  <a:lnTo>
                    <a:pt x="16" y="99"/>
                  </a:lnTo>
                  <a:cubicBezTo>
                    <a:pt x="7" y="99"/>
                    <a:pt x="0" y="91"/>
                    <a:pt x="0" y="82"/>
                  </a:cubicBezTo>
                  <a:cubicBezTo>
                    <a:pt x="0" y="73"/>
                    <a:pt x="7" y="66"/>
                    <a:pt x="16" y="66"/>
                  </a:cubicBezTo>
                  <a:lnTo>
                    <a:pt x="158" y="66"/>
                  </a:lnTo>
                  <a:cubicBezTo>
                    <a:pt x="167" y="66"/>
                    <a:pt x="174" y="73"/>
                    <a:pt x="174" y="82"/>
                  </a:cubicBezTo>
                  <a:cubicBezTo>
                    <a:pt x="174" y="91"/>
                    <a:pt x="167" y="99"/>
                    <a:pt x="158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3787;p111">
              <a:extLst>
                <a:ext uri="{FF2B5EF4-FFF2-40B4-BE49-F238E27FC236}">
                  <a16:creationId xmlns:a16="http://schemas.microsoft.com/office/drawing/2014/main" xmlns="" id="{59015C46-0C2F-6F43-B168-9D92763BA5B5}"/>
                </a:ext>
              </a:extLst>
            </p:cNvPr>
            <p:cNvSpPr/>
            <p:nvPr/>
          </p:nvSpPr>
          <p:spPr>
            <a:xfrm>
              <a:off x="5613" y="1333"/>
              <a:ext cx="266" cy="184"/>
            </a:xfrm>
            <a:custGeom>
              <a:avLst/>
              <a:gdLst/>
              <a:ahLst/>
              <a:cxnLst/>
              <a:rect l="l" t="t" r="r" b="b"/>
              <a:pathLst>
                <a:path w="436" h="302" extrusionOk="0">
                  <a:moveTo>
                    <a:pt x="356" y="0"/>
                  </a:moveTo>
                  <a:lnTo>
                    <a:pt x="356" y="0"/>
                  </a:lnTo>
                  <a:lnTo>
                    <a:pt x="153" y="0"/>
                  </a:lnTo>
                  <a:cubicBezTo>
                    <a:pt x="120" y="0"/>
                    <a:pt x="91" y="20"/>
                    <a:pt x="79" y="50"/>
                  </a:cubicBezTo>
                  <a:lnTo>
                    <a:pt x="17" y="50"/>
                  </a:lnTo>
                  <a:cubicBezTo>
                    <a:pt x="10" y="50"/>
                    <a:pt x="5" y="54"/>
                    <a:pt x="2" y="60"/>
                  </a:cubicBezTo>
                  <a:cubicBezTo>
                    <a:pt x="0" y="66"/>
                    <a:pt x="1" y="72"/>
                    <a:pt x="6" y="77"/>
                  </a:cubicBezTo>
                  <a:lnTo>
                    <a:pt x="73" y="144"/>
                  </a:lnTo>
                  <a:lnTo>
                    <a:pt x="73" y="222"/>
                  </a:lnTo>
                  <a:cubicBezTo>
                    <a:pt x="73" y="266"/>
                    <a:pt x="109" y="302"/>
                    <a:pt x="153" y="302"/>
                  </a:cubicBezTo>
                  <a:lnTo>
                    <a:pt x="356" y="302"/>
                  </a:lnTo>
                  <a:cubicBezTo>
                    <a:pt x="400" y="302"/>
                    <a:pt x="436" y="266"/>
                    <a:pt x="436" y="222"/>
                  </a:cubicBezTo>
                  <a:lnTo>
                    <a:pt x="436" y="80"/>
                  </a:lnTo>
                  <a:cubicBezTo>
                    <a:pt x="436" y="36"/>
                    <a:pt x="400" y="0"/>
                    <a:pt x="356" y="0"/>
                  </a:cubicBezTo>
                  <a:close/>
                  <a:moveTo>
                    <a:pt x="404" y="222"/>
                  </a:moveTo>
                  <a:lnTo>
                    <a:pt x="404" y="222"/>
                  </a:lnTo>
                  <a:cubicBezTo>
                    <a:pt x="404" y="249"/>
                    <a:pt x="382" y="270"/>
                    <a:pt x="356" y="270"/>
                  </a:cubicBezTo>
                  <a:lnTo>
                    <a:pt x="153" y="270"/>
                  </a:lnTo>
                  <a:cubicBezTo>
                    <a:pt x="127" y="270"/>
                    <a:pt x="105" y="249"/>
                    <a:pt x="105" y="222"/>
                  </a:cubicBezTo>
                  <a:lnTo>
                    <a:pt x="105" y="138"/>
                  </a:lnTo>
                  <a:cubicBezTo>
                    <a:pt x="105" y="134"/>
                    <a:pt x="103" y="129"/>
                    <a:pt x="100" y="126"/>
                  </a:cubicBezTo>
                  <a:lnTo>
                    <a:pt x="56" y="82"/>
                  </a:lnTo>
                  <a:lnTo>
                    <a:pt x="91" y="82"/>
                  </a:lnTo>
                  <a:cubicBezTo>
                    <a:pt x="98" y="82"/>
                    <a:pt x="105" y="77"/>
                    <a:pt x="106" y="69"/>
                  </a:cubicBezTo>
                  <a:cubicBezTo>
                    <a:pt x="111" y="47"/>
                    <a:pt x="131" y="32"/>
                    <a:pt x="153" y="32"/>
                  </a:cubicBezTo>
                  <a:lnTo>
                    <a:pt x="356" y="32"/>
                  </a:lnTo>
                  <a:cubicBezTo>
                    <a:pt x="382" y="32"/>
                    <a:pt x="404" y="54"/>
                    <a:pt x="404" y="80"/>
                  </a:cubicBezTo>
                  <a:lnTo>
                    <a:pt x="404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3788;p111">
              <a:extLst>
                <a:ext uri="{FF2B5EF4-FFF2-40B4-BE49-F238E27FC236}">
                  <a16:creationId xmlns:a16="http://schemas.microsoft.com/office/drawing/2014/main" xmlns="" id="{8AAA9EFF-42C3-374C-B831-BD3C620B09B9}"/>
                </a:ext>
              </a:extLst>
            </p:cNvPr>
            <p:cNvSpPr/>
            <p:nvPr/>
          </p:nvSpPr>
          <p:spPr>
            <a:xfrm>
              <a:off x="5377" y="1232"/>
              <a:ext cx="261" cy="285"/>
            </a:xfrm>
            <a:custGeom>
              <a:avLst/>
              <a:gdLst/>
              <a:ahLst/>
              <a:cxnLst/>
              <a:rect l="l" t="t" r="r" b="b"/>
              <a:pathLst>
                <a:path w="428" h="468" extrusionOk="0">
                  <a:moveTo>
                    <a:pt x="292" y="234"/>
                  </a:moveTo>
                  <a:lnTo>
                    <a:pt x="292" y="234"/>
                  </a:lnTo>
                  <a:cubicBezTo>
                    <a:pt x="291" y="233"/>
                    <a:pt x="290" y="233"/>
                    <a:pt x="289" y="233"/>
                  </a:cubicBezTo>
                  <a:cubicBezTo>
                    <a:pt x="306" y="214"/>
                    <a:pt x="317" y="189"/>
                    <a:pt x="317" y="162"/>
                  </a:cubicBezTo>
                  <a:lnTo>
                    <a:pt x="317" y="77"/>
                  </a:lnTo>
                  <a:cubicBezTo>
                    <a:pt x="317" y="76"/>
                    <a:pt x="317" y="76"/>
                    <a:pt x="317" y="75"/>
                  </a:cubicBezTo>
                  <a:cubicBezTo>
                    <a:pt x="317" y="73"/>
                    <a:pt x="317" y="72"/>
                    <a:pt x="317" y="70"/>
                  </a:cubicBezTo>
                  <a:lnTo>
                    <a:pt x="317" y="17"/>
                  </a:lnTo>
                  <a:cubicBezTo>
                    <a:pt x="317" y="8"/>
                    <a:pt x="310" y="0"/>
                    <a:pt x="301" y="0"/>
                  </a:cubicBezTo>
                  <a:lnTo>
                    <a:pt x="193" y="0"/>
                  </a:lnTo>
                  <a:cubicBezTo>
                    <a:pt x="148" y="0"/>
                    <a:pt x="111" y="37"/>
                    <a:pt x="111" y="83"/>
                  </a:cubicBezTo>
                  <a:lnTo>
                    <a:pt x="111" y="162"/>
                  </a:lnTo>
                  <a:cubicBezTo>
                    <a:pt x="111" y="189"/>
                    <a:pt x="121" y="214"/>
                    <a:pt x="139" y="233"/>
                  </a:cubicBezTo>
                  <a:cubicBezTo>
                    <a:pt x="138" y="233"/>
                    <a:pt x="137" y="233"/>
                    <a:pt x="135" y="234"/>
                  </a:cubicBezTo>
                  <a:cubicBezTo>
                    <a:pt x="59" y="241"/>
                    <a:pt x="0" y="305"/>
                    <a:pt x="0" y="383"/>
                  </a:cubicBezTo>
                  <a:lnTo>
                    <a:pt x="0" y="451"/>
                  </a:lnTo>
                  <a:cubicBezTo>
                    <a:pt x="0" y="460"/>
                    <a:pt x="7" y="468"/>
                    <a:pt x="16" y="468"/>
                  </a:cubicBezTo>
                  <a:lnTo>
                    <a:pt x="412" y="468"/>
                  </a:lnTo>
                  <a:cubicBezTo>
                    <a:pt x="421" y="468"/>
                    <a:pt x="428" y="460"/>
                    <a:pt x="428" y="451"/>
                  </a:cubicBezTo>
                  <a:lnTo>
                    <a:pt x="428" y="383"/>
                  </a:lnTo>
                  <a:cubicBezTo>
                    <a:pt x="428" y="305"/>
                    <a:pt x="368" y="241"/>
                    <a:pt x="292" y="234"/>
                  </a:cubicBezTo>
                  <a:close/>
                  <a:moveTo>
                    <a:pt x="143" y="103"/>
                  </a:moveTo>
                  <a:lnTo>
                    <a:pt x="143" y="103"/>
                  </a:lnTo>
                  <a:lnTo>
                    <a:pt x="143" y="83"/>
                  </a:lnTo>
                  <a:cubicBezTo>
                    <a:pt x="143" y="55"/>
                    <a:pt x="165" y="33"/>
                    <a:pt x="193" y="33"/>
                  </a:cubicBezTo>
                  <a:lnTo>
                    <a:pt x="285" y="33"/>
                  </a:lnTo>
                  <a:lnTo>
                    <a:pt x="285" y="70"/>
                  </a:lnTo>
                  <a:cubicBezTo>
                    <a:pt x="285" y="89"/>
                    <a:pt x="270" y="104"/>
                    <a:pt x="251" y="104"/>
                  </a:cubicBezTo>
                  <a:lnTo>
                    <a:pt x="143" y="104"/>
                  </a:lnTo>
                  <a:lnTo>
                    <a:pt x="143" y="103"/>
                  </a:lnTo>
                  <a:close/>
                  <a:moveTo>
                    <a:pt x="143" y="137"/>
                  </a:moveTo>
                  <a:lnTo>
                    <a:pt x="143" y="137"/>
                  </a:lnTo>
                  <a:lnTo>
                    <a:pt x="251" y="137"/>
                  </a:lnTo>
                  <a:cubicBezTo>
                    <a:pt x="263" y="137"/>
                    <a:pt x="275" y="133"/>
                    <a:pt x="285" y="127"/>
                  </a:cubicBezTo>
                  <a:lnTo>
                    <a:pt x="285" y="162"/>
                  </a:lnTo>
                  <a:cubicBezTo>
                    <a:pt x="285" y="201"/>
                    <a:pt x="253" y="233"/>
                    <a:pt x="214" y="233"/>
                  </a:cubicBezTo>
                  <a:cubicBezTo>
                    <a:pt x="175" y="233"/>
                    <a:pt x="143" y="201"/>
                    <a:pt x="143" y="162"/>
                  </a:cubicBezTo>
                  <a:lnTo>
                    <a:pt x="143" y="137"/>
                  </a:lnTo>
                  <a:close/>
                  <a:moveTo>
                    <a:pt x="249" y="265"/>
                  </a:moveTo>
                  <a:lnTo>
                    <a:pt x="249" y="265"/>
                  </a:lnTo>
                  <a:lnTo>
                    <a:pt x="214" y="300"/>
                  </a:lnTo>
                  <a:lnTo>
                    <a:pt x="179" y="265"/>
                  </a:lnTo>
                  <a:lnTo>
                    <a:pt x="249" y="265"/>
                  </a:lnTo>
                  <a:close/>
                  <a:moveTo>
                    <a:pt x="396" y="435"/>
                  </a:moveTo>
                  <a:lnTo>
                    <a:pt x="396" y="435"/>
                  </a:lnTo>
                  <a:lnTo>
                    <a:pt x="396" y="435"/>
                  </a:lnTo>
                  <a:lnTo>
                    <a:pt x="32" y="435"/>
                  </a:lnTo>
                  <a:lnTo>
                    <a:pt x="32" y="403"/>
                  </a:lnTo>
                  <a:lnTo>
                    <a:pt x="32" y="403"/>
                  </a:lnTo>
                  <a:cubicBezTo>
                    <a:pt x="32" y="378"/>
                    <a:pt x="32" y="371"/>
                    <a:pt x="32" y="371"/>
                  </a:cubicBezTo>
                  <a:cubicBezTo>
                    <a:pt x="38" y="317"/>
                    <a:pt x="80" y="273"/>
                    <a:pt x="134" y="266"/>
                  </a:cubicBezTo>
                  <a:lnTo>
                    <a:pt x="202" y="334"/>
                  </a:lnTo>
                  <a:cubicBezTo>
                    <a:pt x="206" y="337"/>
                    <a:pt x="210" y="339"/>
                    <a:pt x="214" y="339"/>
                  </a:cubicBezTo>
                  <a:cubicBezTo>
                    <a:pt x="218" y="339"/>
                    <a:pt x="222" y="337"/>
                    <a:pt x="225" y="334"/>
                  </a:cubicBezTo>
                  <a:lnTo>
                    <a:pt x="294" y="266"/>
                  </a:lnTo>
                  <a:cubicBezTo>
                    <a:pt x="351" y="274"/>
                    <a:pt x="396" y="323"/>
                    <a:pt x="396" y="383"/>
                  </a:cubicBezTo>
                  <a:lnTo>
                    <a:pt x="396" y="4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90422253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36679358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30">
            <a:extLst>
              <a:ext uri="{FF2B5EF4-FFF2-40B4-BE49-F238E27FC236}">
                <a16:creationId xmlns:a16="http://schemas.microsoft.com/office/drawing/2014/main" xmlns="" id="{80832A9A-ADDB-E845-8443-9D1670CD83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5845" y="305593"/>
            <a:ext cx="4652253" cy="459111"/>
          </a:xfrm>
        </p:spPr>
        <p:txBody>
          <a:bodyPr/>
          <a:lstStyle/>
          <a:p>
            <a:pPr algn="l"/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Objetivo</a:t>
            </a:r>
          </a:p>
        </p:txBody>
      </p: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xmlns="" id="{185C9885-D717-A34A-8DC7-0B23DA293555}"/>
              </a:ext>
            </a:extLst>
          </p:cNvPr>
          <p:cNvCxnSpPr>
            <a:cxnSpLocks/>
          </p:cNvCxnSpPr>
          <p:nvPr/>
        </p:nvCxnSpPr>
        <p:spPr>
          <a:xfrm>
            <a:off x="406400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Rectángulo 15">
            <a:extLst>
              <a:ext uri="{FF2B5EF4-FFF2-40B4-BE49-F238E27FC236}">
                <a16:creationId xmlns:a16="http://schemas.microsoft.com/office/drawing/2014/main" xmlns="" id="{B0280DF8-E4F5-EE45-AC01-716811184F9D}"/>
              </a:ext>
            </a:extLst>
          </p:cNvPr>
          <p:cNvSpPr/>
          <p:nvPr/>
        </p:nvSpPr>
        <p:spPr>
          <a:xfrm>
            <a:off x="-1056710" y="-2672574"/>
            <a:ext cx="503777" cy="447751"/>
          </a:xfrm>
          <a:prstGeom prst="rect">
            <a:avLst/>
          </a:prstGeom>
          <a:solidFill>
            <a:srgbClr val="7EF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5E6D79B3-7594-5A44-ABDF-D7158FC3F645}"/>
              </a:ext>
            </a:extLst>
          </p:cNvPr>
          <p:cNvSpPr/>
          <p:nvPr/>
        </p:nvSpPr>
        <p:spPr>
          <a:xfrm>
            <a:off x="-1056710" y="-2025207"/>
            <a:ext cx="503777" cy="447751"/>
          </a:xfrm>
          <a:prstGeom prst="rect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7175E1E6-455B-F24C-B52A-CA5A06B542E2}"/>
              </a:ext>
            </a:extLst>
          </p:cNvPr>
          <p:cNvSpPr/>
          <p:nvPr/>
        </p:nvSpPr>
        <p:spPr>
          <a:xfrm>
            <a:off x="-1056710" y="-1101183"/>
            <a:ext cx="503777" cy="447751"/>
          </a:xfrm>
          <a:prstGeom prst="rect">
            <a:avLst/>
          </a:prstGeom>
          <a:solidFill>
            <a:srgbClr val="13C0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xmlns="" id="{0EBA33B8-B476-6B41-89F4-C47E287E5AC6}"/>
              </a:ext>
            </a:extLst>
          </p:cNvPr>
          <p:cNvSpPr/>
          <p:nvPr/>
        </p:nvSpPr>
        <p:spPr>
          <a:xfrm>
            <a:off x="-1075148" y="-410616"/>
            <a:ext cx="503777" cy="447751"/>
          </a:xfrm>
          <a:prstGeom prst="rect">
            <a:avLst/>
          </a:prstGeom>
          <a:solidFill>
            <a:srgbClr val="004C1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pSp>
        <p:nvGrpSpPr>
          <p:cNvPr id="53" name="Google Shape;3272;p105">
            <a:extLst>
              <a:ext uri="{FF2B5EF4-FFF2-40B4-BE49-F238E27FC236}">
                <a16:creationId xmlns:a16="http://schemas.microsoft.com/office/drawing/2014/main" xmlns="" id="{C5CAD499-BF1C-FE4F-98CA-DF6B41A410A8}"/>
              </a:ext>
            </a:extLst>
          </p:cNvPr>
          <p:cNvGrpSpPr/>
          <p:nvPr/>
        </p:nvGrpSpPr>
        <p:grpSpPr>
          <a:xfrm>
            <a:off x="1348401" y="2331096"/>
            <a:ext cx="2674163" cy="1671352"/>
            <a:chOff x="3965" y="3562"/>
            <a:chExt cx="520" cy="325"/>
          </a:xfrm>
          <a:solidFill>
            <a:srgbClr val="15C045"/>
          </a:solidFill>
        </p:grpSpPr>
        <p:sp>
          <p:nvSpPr>
            <p:cNvPr id="54" name="Google Shape;3273;p105">
              <a:extLst>
                <a:ext uri="{FF2B5EF4-FFF2-40B4-BE49-F238E27FC236}">
                  <a16:creationId xmlns:a16="http://schemas.microsoft.com/office/drawing/2014/main" xmlns="" id="{82A45ABB-9917-A44F-8561-2C5697F1769B}"/>
                </a:ext>
              </a:extLst>
            </p:cNvPr>
            <p:cNvSpPr/>
            <p:nvPr/>
          </p:nvSpPr>
          <p:spPr>
            <a:xfrm>
              <a:off x="3965" y="3562"/>
              <a:ext cx="520" cy="325"/>
            </a:xfrm>
            <a:custGeom>
              <a:avLst/>
              <a:gdLst/>
              <a:ahLst/>
              <a:cxnLst/>
              <a:rect l="l" t="t" r="r" b="b"/>
              <a:pathLst>
                <a:path w="847" h="536" extrusionOk="0">
                  <a:moveTo>
                    <a:pt x="423" y="504"/>
                  </a:moveTo>
                  <a:lnTo>
                    <a:pt x="423" y="504"/>
                  </a:lnTo>
                  <a:cubicBezTo>
                    <a:pt x="205" y="504"/>
                    <a:pt x="31" y="334"/>
                    <a:pt x="31" y="267"/>
                  </a:cubicBezTo>
                  <a:cubicBezTo>
                    <a:pt x="31" y="200"/>
                    <a:pt x="205" y="30"/>
                    <a:pt x="423" y="30"/>
                  </a:cubicBezTo>
                  <a:cubicBezTo>
                    <a:pt x="642" y="30"/>
                    <a:pt x="816" y="200"/>
                    <a:pt x="816" y="267"/>
                  </a:cubicBezTo>
                  <a:cubicBezTo>
                    <a:pt x="816" y="334"/>
                    <a:pt x="642" y="504"/>
                    <a:pt x="423" y="504"/>
                  </a:cubicBezTo>
                  <a:close/>
                  <a:moveTo>
                    <a:pt x="423" y="0"/>
                  </a:moveTo>
                  <a:lnTo>
                    <a:pt x="423" y="0"/>
                  </a:lnTo>
                  <a:cubicBezTo>
                    <a:pt x="187" y="0"/>
                    <a:pt x="0" y="191"/>
                    <a:pt x="0" y="267"/>
                  </a:cubicBezTo>
                  <a:cubicBezTo>
                    <a:pt x="0" y="343"/>
                    <a:pt x="187" y="536"/>
                    <a:pt x="423" y="536"/>
                  </a:cubicBezTo>
                  <a:cubicBezTo>
                    <a:pt x="659" y="536"/>
                    <a:pt x="847" y="343"/>
                    <a:pt x="847" y="267"/>
                  </a:cubicBezTo>
                  <a:cubicBezTo>
                    <a:pt x="847" y="191"/>
                    <a:pt x="659" y="0"/>
                    <a:pt x="423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55" name="Google Shape;3274;p105">
              <a:extLst>
                <a:ext uri="{FF2B5EF4-FFF2-40B4-BE49-F238E27FC236}">
                  <a16:creationId xmlns:a16="http://schemas.microsoft.com/office/drawing/2014/main" xmlns="" id="{7C358FFD-5CEF-4D4F-B363-FA4815F31B14}"/>
                </a:ext>
              </a:extLst>
            </p:cNvPr>
            <p:cNvSpPr/>
            <p:nvPr/>
          </p:nvSpPr>
          <p:spPr>
            <a:xfrm>
              <a:off x="4189" y="3689"/>
              <a:ext cx="72" cy="70"/>
            </a:xfrm>
            <a:custGeom>
              <a:avLst/>
              <a:gdLst/>
              <a:ahLst/>
              <a:cxnLst/>
              <a:rect l="l" t="t" r="r" b="b"/>
              <a:pathLst>
                <a:path w="117" h="116" extrusionOk="0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1" y="116"/>
                    <a:pt x="117" y="90"/>
                    <a:pt x="117" y="58"/>
                  </a:cubicBezTo>
                  <a:cubicBezTo>
                    <a:pt x="117" y="26"/>
                    <a:pt x="91" y="0"/>
                    <a:pt x="58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56" name="Google Shape;3275;p105">
              <a:extLst>
                <a:ext uri="{FF2B5EF4-FFF2-40B4-BE49-F238E27FC236}">
                  <a16:creationId xmlns:a16="http://schemas.microsoft.com/office/drawing/2014/main" xmlns="" id="{8423A0F3-67C9-3A48-BADF-909D330C63F5}"/>
                </a:ext>
              </a:extLst>
            </p:cNvPr>
            <p:cNvSpPr/>
            <p:nvPr/>
          </p:nvSpPr>
          <p:spPr>
            <a:xfrm>
              <a:off x="4108" y="3608"/>
              <a:ext cx="234" cy="232"/>
            </a:xfrm>
            <a:custGeom>
              <a:avLst/>
              <a:gdLst/>
              <a:ahLst/>
              <a:cxnLst/>
              <a:rect l="l" t="t" r="r" b="b"/>
              <a:pathLst>
                <a:path w="381" h="381" extrusionOk="0">
                  <a:moveTo>
                    <a:pt x="190" y="350"/>
                  </a:moveTo>
                  <a:lnTo>
                    <a:pt x="190" y="350"/>
                  </a:lnTo>
                  <a:cubicBezTo>
                    <a:pt x="103" y="350"/>
                    <a:pt x="31" y="278"/>
                    <a:pt x="31" y="190"/>
                  </a:cubicBezTo>
                  <a:cubicBezTo>
                    <a:pt x="31" y="102"/>
                    <a:pt x="103" y="31"/>
                    <a:pt x="190" y="31"/>
                  </a:cubicBezTo>
                  <a:cubicBezTo>
                    <a:pt x="278" y="31"/>
                    <a:pt x="350" y="102"/>
                    <a:pt x="350" y="190"/>
                  </a:cubicBezTo>
                  <a:cubicBezTo>
                    <a:pt x="350" y="278"/>
                    <a:pt x="278" y="350"/>
                    <a:pt x="190" y="350"/>
                  </a:cubicBezTo>
                  <a:close/>
                  <a:moveTo>
                    <a:pt x="190" y="0"/>
                  </a:moveTo>
                  <a:lnTo>
                    <a:pt x="190" y="0"/>
                  </a:lnTo>
                  <a:cubicBezTo>
                    <a:pt x="85" y="0"/>
                    <a:pt x="0" y="85"/>
                    <a:pt x="0" y="190"/>
                  </a:cubicBezTo>
                  <a:cubicBezTo>
                    <a:pt x="0" y="295"/>
                    <a:pt x="85" y="381"/>
                    <a:pt x="190" y="381"/>
                  </a:cubicBezTo>
                  <a:cubicBezTo>
                    <a:pt x="296" y="381"/>
                    <a:pt x="381" y="295"/>
                    <a:pt x="381" y="190"/>
                  </a:cubicBezTo>
                  <a:cubicBezTo>
                    <a:pt x="381" y="85"/>
                    <a:pt x="296" y="0"/>
                    <a:pt x="190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7" name="Google Shape;4086;p113">
            <a:extLst>
              <a:ext uri="{FF2B5EF4-FFF2-40B4-BE49-F238E27FC236}">
                <a16:creationId xmlns:a16="http://schemas.microsoft.com/office/drawing/2014/main" xmlns="" id="{CD895483-96AD-054C-9B0F-4E25E36FDCF4}"/>
              </a:ext>
            </a:extLst>
          </p:cNvPr>
          <p:cNvGrpSpPr/>
          <p:nvPr/>
        </p:nvGrpSpPr>
        <p:grpSpPr>
          <a:xfrm>
            <a:off x="5591944" y="2331096"/>
            <a:ext cx="1666687" cy="1663806"/>
            <a:chOff x="1091" y="2665"/>
            <a:chExt cx="422" cy="422"/>
          </a:xfrm>
          <a:solidFill>
            <a:srgbClr val="15C045"/>
          </a:solidFill>
        </p:grpSpPr>
        <p:sp>
          <p:nvSpPr>
            <p:cNvPr id="58" name="Google Shape;4087;p113">
              <a:extLst>
                <a:ext uri="{FF2B5EF4-FFF2-40B4-BE49-F238E27FC236}">
                  <a16:creationId xmlns:a16="http://schemas.microsoft.com/office/drawing/2014/main" xmlns="" id="{02BC532A-BF81-7841-B71C-89521F46C468}"/>
                </a:ext>
              </a:extLst>
            </p:cNvPr>
            <p:cNvSpPr/>
            <p:nvPr/>
          </p:nvSpPr>
          <p:spPr>
            <a:xfrm>
              <a:off x="1091" y="2665"/>
              <a:ext cx="422" cy="422"/>
            </a:xfrm>
            <a:custGeom>
              <a:avLst/>
              <a:gdLst/>
              <a:ahLst/>
              <a:cxnLst/>
              <a:rect l="l" t="t" r="r" b="b"/>
              <a:pathLst>
                <a:path w="691" h="691" extrusionOk="0">
                  <a:moveTo>
                    <a:pt x="675" y="235"/>
                  </a:moveTo>
                  <a:lnTo>
                    <a:pt x="675" y="235"/>
                  </a:lnTo>
                  <a:cubicBezTo>
                    <a:pt x="667" y="235"/>
                    <a:pt x="660" y="242"/>
                    <a:pt x="660" y="250"/>
                  </a:cubicBezTo>
                  <a:lnTo>
                    <a:pt x="660" y="596"/>
                  </a:lnTo>
                  <a:cubicBezTo>
                    <a:pt x="660" y="631"/>
                    <a:pt x="631" y="659"/>
                    <a:pt x="597" y="659"/>
                  </a:cubicBezTo>
                  <a:lnTo>
                    <a:pt x="94" y="659"/>
                  </a:lnTo>
                  <a:cubicBezTo>
                    <a:pt x="59" y="659"/>
                    <a:pt x="31" y="631"/>
                    <a:pt x="31" y="596"/>
                  </a:cubicBezTo>
                  <a:lnTo>
                    <a:pt x="31" y="93"/>
                  </a:lnTo>
                  <a:cubicBezTo>
                    <a:pt x="31" y="59"/>
                    <a:pt x="59" y="30"/>
                    <a:pt x="94" y="30"/>
                  </a:cubicBezTo>
                  <a:lnTo>
                    <a:pt x="440" y="30"/>
                  </a:lnTo>
                  <a:cubicBezTo>
                    <a:pt x="448" y="30"/>
                    <a:pt x="455" y="23"/>
                    <a:pt x="455" y="15"/>
                  </a:cubicBezTo>
                  <a:cubicBezTo>
                    <a:pt x="455" y="6"/>
                    <a:pt x="448" y="0"/>
                    <a:pt x="440" y="0"/>
                  </a:cubicBezTo>
                  <a:lnTo>
                    <a:pt x="94" y="0"/>
                  </a:lnTo>
                  <a:cubicBezTo>
                    <a:pt x="42" y="0"/>
                    <a:pt x="0" y="41"/>
                    <a:pt x="0" y="93"/>
                  </a:cubicBezTo>
                  <a:lnTo>
                    <a:pt x="0" y="596"/>
                  </a:lnTo>
                  <a:cubicBezTo>
                    <a:pt x="0" y="648"/>
                    <a:pt x="42" y="691"/>
                    <a:pt x="94" y="691"/>
                  </a:cubicBezTo>
                  <a:lnTo>
                    <a:pt x="597" y="691"/>
                  </a:lnTo>
                  <a:cubicBezTo>
                    <a:pt x="649" y="691"/>
                    <a:pt x="691" y="648"/>
                    <a:pt x="691" y="596"/>
                  </a:cubicBezTo>
                  <a:lnTo>
                    <a:pt x="691" y="250"/>
                  </a:lnTo>
                  <a:cubicBezTo>
                    <a:pt x="691" y="242"/>
                    <a:pt x="684" y="235"/>
                    <a:pt x="675" y="2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Google Shape;4088;p113">
              <a:extLst>
                <a:ext uri="{FF2B5EF4-FFF2-40B4-BE49-F238E27FC236}">
                  <a16:creationId xmlns:a16="http://schemas.microsoft.com/office/drawing/2014/main" xmlns="" id="{7071D354-DE02-E041-91DA-A9C39C8B9A7B}"/>
                </a:ext>
              </a:extLst>
            </p:cNvPr>
            <p:cNvSpPr/>
            <p:nvPr/>
          </p:nvSpPr>
          <p:spPr>
            <a:xfrm>
              <a:off x="1196" y="2665"/>
              <a:ext cx="317" cy="316"/>
            </a:xfrm>
            <a:custGeom>
              <a:avLst/>
              <a:gdLst/>
              <a:ahLst/>
              <a:cxnLst/>
              <a:rect l="l" t="t" r="r" b="b"/>
              <a:pathLst>
                <a:path w="519" h="518" extrusionOk="0">
                  <a:moveTo>
                    <a:pt x="474" y="111"/>
                  </a:moveTo>
                  <a:lnTo>
                    <a:pt x="474" y="111"/>
                  </a:lnTo>
                  <a:lnTo>
                    <a:pt x="454" y="131"/>
                  </a:lnTo>
                  <a:lnTo>
                    <a:pt x="387" y="64"/>
                  </a:lnTo>
                  <a:lnTo>
                    <a:pt x="407" y="44"/>
                  </a:lnTo>
                  <a:cubicBezTo>
                    <a:pt x="416" y="36"/>
                    <a:pt x="427" y="30"/>
                    <a:pt x="440" y="30"/>
                  </a:cubicBezTo>
                  <a:cubicBezTo>
                    <a:pt x="467" y="30"/>
                    <a:pt x="488" y="51"/>
                    <a:pt x="488" y="77"/>
                  </a:cubicBezTo>
                  <a:cubicBezTo>
                    <a:pt x="488" y="91"/>
                    <a:pt x="482" y="102"/>
                    <a:pt x="474" y="111"/>
                  </a:cubicBezTo>
                  <a:close/>
                  <a:moveTo>
                    <a:pt x="142" y="443"/>
                  </a:moveTo>
                  <a:lnTo>
                    <a:pt x="142" y="443"/>
                  </a:lnTo>
                  <a:lnTo>
                    <a:pt x="142" y="376"/>
                  </a:lnTo>
                  <a:lnTo>
                    <a:pt x="75" y="376"/>
                  </a:lnTo>
                  <a:lnTo>
                    <a:pt x="365" y="87"/>
                  </a:lnTo>
                  <a:lnTo>
                    <a:pt x="431" y="153"/>
                  </a:lnTo>
                  <a:lnTo>
                    <a:pt x="142" y="443"/>
                  </a:lnTo>
                  <a:close/>
                  <a:moveTo>
                    <a:pt x="110" y="466"/>
                  </a:moveTo>
                  <a:lnTo>
                    <a:pt x="110" y="466"/>
                  </a:lnTo>
                  <a:lnTo>
                    <a:pt x="40" y="478"/>
                  </a:lnTo>
                  <a:lnTo>
                    <a:pt x="52" y="408"/>
                  </a:lnTo>
                  <a:lnTo>
                    <a:pt x="110" y="408"/>
                  </a:lnTo>
                  <a:lnTo>
                    <a:pt x="110" y="466"/>
                  </a:lnTo>
                  <a:close/>
                  <a:moveTo>
                    <a:pt x="440" y="0"/>
                  </a:moveTo>
                  <a:lnTo>
                    <a:pt x="440" y="0"/>
                  </a:lnTo>
                  <a:cubicBezTo>
                    <a:pt x="419" y="0"/>
                    <a:pt x="399" y="8"/>
                    <a:pt x="385" y="22"/>
                  </a:cubicBezTo>
                  <a:lnTo>
                    <a:pt x="23" y="383"/>
                  </a:lnTo>
                  <a:lnTo>
                    <a:pt x="0" y="518"/>
                  </a:lnTo>
                  <a:lnTo>
                    <a:pt x="135" y="495"/>
                  </a:lnTo>
                  <a:lnTo>
                    <a:pt x="496" y="133"/>
                  </a:lnTo>
                  <a:cubicBezTo>
                    <a:pt x="510" y="119"/>
                    <a:pt x="519" y="99"/>
                    <a:pt x="519" y="77"/>
                  </a:cubicBezTo>
                  <a:cubicBezTo>
                    <a:pt x="519" y="34"/>
                    <a:pt x="484" y="0"/>
                    <a:pt x="4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0" name="Google Shape;3830;p111">
            <a:extLst>
              <a:ext uri="{FF2B5EF4-FFF2-40B4-BE49-F238E27FC236}">
                <a16:creationId xmlns:a16="http://schemas.microsoft.com/office/drawing/2014/main" xmlns="" id="{354D8F55-2BC9-C541-8E53-DA8733581BB6}"/>
              </a:ext>
            </a:extLst>
          </p:cNvPr>
          <p:cNvGrpSpPr/>
          <p:nvPr/>
        </p:nvGrpSpPr>
        <p:grpSpPr>
          <a:xfrm>
            <a:off x="9192344" y="2331095"/>
            <a:ext cx="978284" cy="1649849"/>
            <a:chOff x="2020" y="3058"/>
            <a:chExt cx="303" cy="511"/>
          </a:xfrm>
          <a:noFill/>
        </p:grpSpPr>
        <p:sp>
          <p:nvSpPr>
            <p:cNvPr id="61" name="Google Shape;3831;p111">
              <a:extLst>
                <a:ext uri="{FF2B5EF4-FFF2-40B4-BE49-F238E27FC236}">
                  <a16:creationId xmlns:a16="http://schemas.microsoft.com/office/drawing/2014/main" xmlns="" id="{C98F772A-7FC6-4D44-BBBF-4FD93E6C154A}"/>
                </a:ext>
              </a:extLst>
            </p:cNvPr>
            <p:cNvSpPr/>
            <p:nvPr/>
          </p:nvSpPr>
          <p:spPr>
            <a:xfrm>
              <a:off x="2160" y="3058"/>
              <a:ext cx="92" cy="93"/>
            </a:xfrm>
            <a:custGeom>
              <a:avLst/>
              <a:gdLst/>
              <a:ahLst/>
              <a:cxnLst/>
              <a:rect l="l" t="t" r="r" b="b"/>
              <a:pathLst>
                <a:path w="151" h="151" extrusionOk="0">
                  <a:moveTo>
                    <a:pt x="75" y="151"/>
                  </a:moveTo>
                  <a:lnTo>
                    <a:pt x="75" y="151"/>
                  </a:lnTo>
                  <a:cubicBezTo>
                    <a:pt x="117" y="151"/>
                    <a:pt x="151" y="117"/>
                    <a:pt x="151" y="76"/>
                  </a:cubicBezTo>
                  <a:cubicBezTo>
                    <a:pt x="151" y="34"/>
                    <a:pt x="117" y="0"/>
                    <a:pt x="75" y="0"/>
                  </a:cubicBezTo>
                  <a:cubicBezTo>
                    <a:pt x="34" y="0"/>
                    <a:pt x="0" y="34"/>
                    <a:pt x="0" y="76"/>
                  </a:cubicBezTo>
                  <a:cubicBezTo>
                    <a:pt x="0" y="117"/>
                    <a:pt x="34" y="151"/>
                    <a:pt x="75" y="151"/>
                  </a:cubicBezTo>
                  <a:lnTo>
                    <a:pt x="75" y="151"/>
                  </a:lnTo>
                  <a:close/>
                </a:path>
              </a:pathLst>
            </a:custGeom>
            <a:grpFill/>
            <a:ln w="57150" cap="flat" cmpd="sng">
              <a:solidFill>
                <a:srgbClr val="15C04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2" name="Google Shape;3832;p111">
              <a:extLst>
                <a:ext uri="{FF2B5EF4-FFF2-40B4-BE49-F238E27FC236}">
                  <a16:creationId xmlns:a16="http://schemas.microsoft.com/office/drawing/2014/main" xmlns="" id="{B50F09B5-41E9-434D-AF13-E6FF0684F33C}"/>
                </a:ext>
              </a:extLst>
            </p:cNvPr>
            <p:cNvSpPr/>
            <p:nvPr/>
          </p:nvSpPr>
          <p:spPr>
            <a:xfrm>
              <a:off x="2020" y="3168"/>
              <a:ext cx="303" cy="401"/>
            </a:xfrm>
            <a:custGeom>
              <a:avLst/>
              <a:gdLst/>
              <a:ahLst/>
              <a:cxnLst/>
              <a:rect l="l" t="t" r="r" b="b"/>
              <a:pathLst>
                <a:path w="493" h="651" extrusionOk="0">
                  <a:moveTo>
                    <a:pt x="155" y="101"/>
                  </a:moveTo>
                  <a:lnTo>
                    <a:pt x="155" y="101"/>
                  </a:lnTo>
                  <a:lnTo>
                    <a:pt x="7" y="579"/>
                  </a:lnTo>
                  <a:cubicBezTo>
                    <a:pt x="1" y="601"/>
                    <a:pt x="15" y="622"/>
                    <a:pt x="37" y="625"/>
                  </a:cubicBezTo>
                  <a:cubicBezTo>
                    <a:pt x="59" y="627"/>
                    <a:pt x="79" y="614"/>
                    <a:pt x="85" y="594"/>
                  </a:cubicBezTo>
                  <a:lnTo>
                    <a:pt x="162" y="365"/>
                  </a:lnTo>
                  <a:cubicBezTo>
                    <a:pt x="166" y="352"/>
                    <a:pt x="184" y="348"/>
                    <a:pt x="193" y="359"/>
                  </a:cubicBezTo>
                  <a:lnTo>
                    <a:pt x="240" y="413"/>
                  </a:lnTo>
                  <a:cubicBezTo>
                    <a:pt x="243" y="417"/>
                    <a:pt x="244" y="422"/>
                    <a:pt x="244" y="427"/>
                  </a:cubicBezTo>
                  <a:lnTo>
                    <a:pt x="224" y="611"/>
                  </a:lnTo>
                  <a:cubicBezTo>
                    <a:pt x="222" y="629"/>
                    <a:pt x="236" y="646"/>
                    <a:pt x="254" y="648"/>
                  </a:cubicBezTo>
                  <a:cubicBezTo>
                    <a:pt x="277" y="651"/>
                    <a:pt x="298" y="634"/>
                    <a:pt x="300" y="612"/>
                  </a:cubicBezTo>
                  <a:lnTo>
                    <a:pt x="325" y="383"/>
                  </a:lnTo>
                  <a:cubicBezTo>
                    <a:pt x="326" y="374"/>
                    <a:pt x="323" y="365"/>
                    <a:pt x="317" y="358"/>
                  </a:cubicBezTo>
                  <a:lnTo>
                    <a:pt x="264" y="291"/>
                  </a:lnTo>
                  <a:cubicBezTo>
                    <a:pt x="260" y="286"/>
                    <a:pt x="259" y="280"/>
                    <a:pt x="260" y="274"/>
                  </a:cubicBezTo>
                  <a:lnTo>
                    <a:pt x="282" y="207"/>
                  </a:lnTo>
                  <a:cubicBezTo>
                    <a:pt x="286" y="193"/>
                    <a:pt x="303" y="190"/>
                    <a:pt x="313" y="201"/>
                  </a:cubicBezTo>
                  <a:cubicBezTo>
                    <a:pt x="346" y="241"/>
                    <a:pt x="392" y="271"/>
                    <a:pt x="444" y="285"/>
                  </a:cubicBezTo>
                  <a:cubicBezTo>
                    <a:pt x="466" y="291"/>
                    <a:pt x="488" y="276"/>
                    <a:pt x="491" y="254"/>
                  </a:cubicBezTo>
                  <a:lnTo>
                    <a:pt x="491" y="251"/>
                  </a:lnTo>
                  <a:cubicBezTo>
                    <a:pt x="493" y="233"/>
                    <a:pt x="482" y="217"/>
                    <a:pt x="464" y="212"/>
                  </a:cubicBezTo>
                  <a:cubicBezTo>
                    <a:pt x="409" y="197"/>
                    <a:pt x="365" y="157"/>
                    <a:pt x="341" y="108"/>
                  </a:cubicBezTo>
                  <a:lnTo>
                    <a:pt x="312" y="44"/>
                  </a:lnTo>
                  <a:cubicBezTo>
                    <a:pt x="301" y="20"/>
                    <a:pt x="278" y="4"/>
                    <a:pt x="252" y="1"/>
                  </a:cubicBezTo>
                  <a:cubicBezTo>
                    <a:pt x="242" y="0"/>
                    <a:pt x="233" y="1"/>
                    <a:pt x="223" y="4"/>
                  </a:cubicBezTo>
                  <a:lnTo>
                    <a:pt x="28" y="60"/>
                  </a:lnTo>
                  <a:cubicBezTo>
                    <a:pt x="21" y="62"/>
                    <a:pt x="16" y="68"/>
                    <a:pt x="16" y="75"/>
                  </a:cubicBezTo>
                  <a:lnTo>
                    <a:pt x="2" y="205"/>
                  </a:lnTo>
                  <a:cubicBezTo>
                    <a:pt x="0" y="224"/>
                    <a:pt x="14" y="242"/>
                    <a:pt x="33" y="244"/>
                  </a:cubicBezTo>
                  <a:lnTo>
                    <a:pt x="37" y="244"/>
                  </a:lnTo>
                  <a:cubicBezTo>
                    <a:pt x="57" y="247"/>
                    <a:pt x="75" y="232"/>
                    <a:pt x="77" y="213"/>
                  </a:cubicBezTo>
                  <a:lnTo>
                    <a:pt x="85" y="134"/>
                  </a:lnTo>
                  <a:cubicBezTo>
                    <a:pt x="86" y="127"/>
                    <a:pt x="91" y="121"/>
                    <a:pt x="98" y="119"/>
                  </a:cubicBezTo>
                  <a:lnTo>
                    <a:pt x="155" y="101"/>
                  </a:lnTo>
                  <a:lnTo>
                    <a:pt x="155" y="101"/>
                  </a:lnTo>
                  <a:close/>
                </a:path>
              </a:pathLst>
            </a:custGeom>
            <a:grpFill/>
            <a:ln w="57150" cap="rnd" cmpd="sng">
              <a:solidFill>
                <a:srgbClr val="15C04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61B57550-2885-1F46-96D4-2A454CA7D17D}"/>
              </a:ext>
            </a:extLst>
          </p:cNvPr>
          <p:cNvSpPr/>
          <p:nvPr/>
        </p:nvSpPr>
        <p:spPr>
          <a:xfrm>
            <a:off x="2149108" y="4109010"/>
            <a:ext cx="124585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O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bserva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6FE2BA2D-26B0-AF49-9D76-29DF3EB81341}"/>
              </a:ext>
            </a:extLst>
          </p:cNvPr>
          <p:cNvSpPr/>
          <p:nvPr/>
        </p:nvSpPr>
        <p:spPr>
          <a:xfrm>
            <a:off x="5761359" y="4109010"/>
            <a:ext cx="140775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D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istingue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xmlns="" id="{292832C3-1EBA-404E-B8E9-50BAB1E29486}"/>
              </a:ext>
            </a:extLst>
          </p:cNvPr>
          <p:cNvSpPr txBox="1"/>
          <p:nvPr/>
        </p:nvSpPr>
        <p:spPr>
          <a:xfrm>
            <a:off x="8963369" y="4109010"/>
            <a:ext cx="13090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E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jecuta</a:t>
            </a:r>
          </a:p>
        </p:txBody>
      </p:sp>
      <p:pic>
        <p:nvPicPr>
          <p:cNvPr id="64" name="Imagen 63">
            <a:extLst>
              <a:ext uri="{FF2B5EF4-FFF2-40B4-BE49-F238E27FC236}">
                <a16:creationId xmlns:a16="http://schemas.microsoft.com/office/drawing/2014/main" xmlns="" id="{C16EAD2D-AE9F-E548-976B-5CF05B402D9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833064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>
            <a:extLst>
              <a:ext uri="{FF2B5EF4-FFF2-40B4-BE49-F238E27FC236}">
                <a16:creationId xmlns:a16="http://schemas.microsoft.com/office/drawing/2014/main" xmlns="" id="{C45C5208-54F9-4721-9C01-832F0B0D0E17}"/>
              </a:ext>
            </a:extLst>
          </p:cNvPr>
          <p:cNvSpPr/>
          <p:nvPr/>
        </p:nvSpPr>
        <p:spPr>
          <a:xfrm>
            <a:off x="5558766" y="2420888"/>
            <a:ext cx="453650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b="1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n esta charla revisaremos algunos de los </a:t>
            </a:r>
            <a:r>
              <a:rPr lang="es-ES" sz="16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accidentes más frecuentes </a:t>
            </a:r>
            <a:r>
              <a:rPr lang="es-ES" sz="1600" b="1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al desplazarse.</a:t>
            </a:r>
          </a:p>
          <a:p>
            <a:endParaRPr lang="es-ES" sz="1600" b="1" dirty="0">
              <a:solidFill>
                <a:schemeClr val="bg2">
                  <a:lumMod val="25000"/>
                </a:schemeClr>
              </a:solidFill>
              <a:latin typeface="ACHS Nueva Sans" pitchFamily="2" charset="0"/>
              <a:cs typeface="Arial" panose="020B0604020202020204" pitchFamily="34" charset="0"/>
            </a:endParaRPr>
          </a:p>
          <a:p>
            <a:r>
              <a:rPr lang="es-ES" sz="1600" b="1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Si trabajas transitando solo al interior de tu oficina, no estás exento de sufrir accidentes</a:t>
            </a:r>
            <a:r>
              <a:rPr lang="es-ES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.</a:t>
            </a:r>
            <a:endParaRPr lang="es-MX" sz="1600" dirty="0">
              <a:solidFill>
                <a:schemeClr val="bg2">
                  <a:lumMod val="25000"/>
                </a:schemeClr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xmlns="" id="{9C362301-0707-F14C-99B4-3A00919D6C33}"/>
              </a:ext>
            </a:extLst>
          </p:cNvPr>
          <p:cNvCxnSpPr>
            <a:cxnSpLocks/>
          </p:cNvCxnSpPr>
          <p:nvPr/>
        </p:nvCxnSpPr>
        <p:spPr>
          <a:xfrm>
            <a:off x="406400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Google Shape;4174;p113">
            <a:extLst>
              <a:ext uri="{FF2B5EF4-FFF2-40B4-BE49-F238E27FC236}">
                <a16:creationId xmlns:a16="http://schemas.microsoft.com/office/drawing/2014/main" xmlns="" id="{991135A7-EEBA-D44E-980C-E0C3831FE51E}"/>
              </a:ext>
            </a:extLst>
          </p:cNvPr>
          <p:cNvSpPr/>
          <p:nvPr/>
        </p:nvSpPr>
        <p:spPr>
          <a:xfrm>
            <a:off x="-528736" y="1772816"/>
            <a:ext cx="5245919" cy="5256584"/>
          </a:xfrm>
          <a:custGeom>
            <a:avLst/>
            <a:gdLst/>
            <a:ahLst/>
            <a:cxnLst/>
            <a:rect l="l" t="t" r="r" b="b"/>
            <a:pathLst>
              <a:path w="809" h="806" extrusionOk="0">
                <a:moveTo>
                  <a:pt x="320" y="292"/>
                </a:moveTo>
                <a:lnTo>
                  <a:pt x="320" y="292"/>
                </a:lnTo>
                <a:cubicBezTo>
                  <a:pt x="311" y="221"/>
                  <a:pt x="335" y="151"/>
                  <a:pt x="385" y="101"/>
                </a:cubicBezTo>
                <a:cubicBezTo>
                  <a:pt x="435" y="51"/>
                  <a:pt x="504" y="27"/>
                  <a:pt x="575" y="36"/>
                </a:cubicBezTo>
                <a:cubicBezTo>
                  <a:pt x="676" y="49"/>
                  <a:pt x="758" y="132"/>
                  <a:pt x="771" y="232"/>
                </a:cubicBezTo>
                <a:cubicBezTo>
                  <a:pt x="780" y="303"/>
                  <a:pt x="756" y="373"/>
                  <a:pt x="706" y="423"/>
                </a:cubicBezTo>
                <a:cubicBezTo>
                  <a:pt x="663" y="466"/>
                  <a:pt x="606" y="489"/>
                  <a:pt x="545" y="489"/>
                </a:cubicBezTo>
                <a:cubicBezTo>
                  <a:pt x="536" y="489"/>
                  <a:pt x="526" y="489"/>
                  <a:pt x="516" y="488"/>
                </a:cubicBezTo>
                <a:cubicBezTo>
                  <a:pt x="415" y="475"/>
                  <a:pt x="333" y="392"/>
                  <a:pt x="320" y="292"/>
                </a:cubicBezTo>
                <a:close/>
                <a:moveTo>
                  <a:pt x="96" y="764"/>
                </a:moveTo>
                <a:lnTo>
                  <a:pt x="96" y="764"/>
                </a:lnTo>
                <a:cubicBezTo>
                  <a:pt x="89" y="771"/>
                  <a:pt x="80" y="775"/>
                  <a:pt x="71" y="775"/>
                </a:cubicBezTo>
                <a:cubicBezTo>
                  <a:pt x="69" y="775"/>
                  <a:pt x="67" y="774"/>
                  <a:pt x="64" y="774"/>
                </a:cubicBezTo>
                <a:cubicBezTo>
                  <a:pt x="53" y="772"/>
                  <a:pt x="43" y="764"/>
                  <a:pt x="38" y="752"/>
                </a:cubicBezTo>
                <a:cubicBezTo>
                  <a:pt x="33" y="740"/>
                  <a:pt x="37" y="725"/>
                  <a:pt x="47" y="715"/>
                </a:cubicBezTo>
                <a:lnTo>
                  <a:pt x="266" y="496"/>
                </a:lnTo>
                <a:lnTo>
                  <a:pt x="315" y="545"/>
                </a:lnTo>
                <a:lnTo>
                  <a:pt x="96" y="764"/>
                </a:lnTo>
                <a:close/>
                <a:moveTo>
                  <a:pt x="573" y="519"/>
                </a:moveTo>
                <a:lnTo>
                  <a:pt x="573" y="519"/>
                </a:lnTo>
                <a:cubicBezTo>
                  <a:pt x="696" y="506"/>
                  <a:pt x="795" y="404"/>
                  <a:pt x="804" y="280"/>
                </a:cubicBezTo>
                <a:cubicBezTo>
                  <a:pt x="809" y="205"/>
                  <a:pt x="781" y="132"/>
                  <a:pt x="728" y="79"/>
                </a:cubicBezTo>
                <a:cubicBezTo>
                  <a:pt x="676" y="26"/>
                  <a:pt x="602" y="0"/>
                  <a:pt x="528" y="5"/>
                </a:cubicBezTo>
                <a:cubicBezTo>
                  <a:pt x="403" y="13"/>
                  <a:pt x="300" y="112"/>
                  <a:pt x="288" y="236"/>
                </a:cubicBezTo>
                <a:cubicBezTo>
                  <a:pt x="281" y="307"/>
                  <a:pt x="303" y="376"/>
                  <a:pt x="349" y="430"/>
                </a:cubicBezTo>
                <a:lnTo>
                  <a:pt x="353" y="435"/>
                </a:lnTo>
                <a:lnTo>
                  <a:pt x="301" y="487"/>
                </a:lnTo>
                <a:lnTo>
                  <a:pt x="277" y="463"/>
                </a:lnTo>
                <a:cubicBezTo>
                  <a:pt x="274" y="460"/>
                  <a:pt x="270" y="458"/>
                  <a:pt x="266" y="458"/>
                </a:cubicBezTo>
                <a:cubicBezTo>
                  <a:pt x="262" y="458"/>
                  <a:pt x="258" y="460"/>
                  <a:pt x="255" y="463"/>
                </a:cubicBezTo>
                <a:lnTo>
                  <a:pt x="27" y="691"/>
                </a:lnTo>
                <a:cubicBezTo>
                  <a:pt x="5" y="713"/>
                  <a:pt x="0" y="753"/>
                  <a:pt x="17" y="777"/>
                </a:cubicBezTo>
                <a:cubicBezTo>
                  <a:pt x="29" y="795"/>
                  <a:pt x="49" y="806"/>
                  <a:pt x="71" y="806"/>
                </a:cubicBezTo>
                <a:cubicBezTo>
                  <a:pt x="89" y="806"/>
                  <a:pt x="105" y="799"/>
                  <a:pt x="118" y="786"/>
                </a:cubicBezTo>
                <a:lnTo>
                  <a:pt x="348" y="556"/>
                </a:lnTo>
                <a:cubicBezTo>
                  <a:pt x="351" y="553"/>
                  <a:pt x="353" y="549"/>
                  <a:pt x="353" y="545"/>
                </a:cubicBezTo>
                <a:cubicBezTo>
                  <a:pt x="353" y="541"/>
                  <a:pt x="351" y="537"/>
                  <a:pt x="348" y="534"/>
                </a:cubicBezTo>
                <a:lnTo>
                  <a:pt x="323" y="509"/>
                </a:lnTo>
                <a:lnTo>
                  <a:pt x="375" y="457"/>
                </a:lnTo>
                <a:lnTo>
                  <a:pt x="380" y="461"/>
                </a:lnTo>
                <a:cubicBezTo>
                  <a:pt x="434" y="506"/>
                  <a:pt x="503" y="527"/>
                  <a:pt x="573" y="519"/>
                </a:cubicBezTo>
                <a:close/>
              </a:path>
            </a:pathLst>
          </a:custGeom>
          <a:solidFill>
            <a:srgbClr val="15C04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9EBAD5CC-7AAE-5840-BCFF-46C1677A5F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sp>
        <p:nvSpPr>
          <p:cNvPr id="8" name="Título 30">
            <a:extLst>
              <a:ext uri="{FF2B5EF4-FFF2-40B4-BE49-F238E27FC236}">
                <a16:creationId xmlns:a16="http://schemas.microsoft.com/office/drawing/2014/main" xmlns="" id="{4EDD458B-725B-DA41-833E-3FA17C2948DC}"/>
              </a:ext>
            </a:extLst>
          </p:cNvPr>
          <p:cNvSpPr txBox="1">
            <a:spLocks/>
          </p:cNvSpPr>
          <p:nvPr/>
        </p:nvSpPr>
        <p:spPr>
          <a:xfrm>
            <a:off x="312745" y="332656"/>
            <a:ext cx="4652253" cy="459111"/>
          </a:xfrm>
        </p:spPr>
        <p:txBody>
          <a:bodyPr/>
          <a:lstStyle>
            <a:lvl1pPr algn="l" defTabSz="9028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4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Objetivo de la charl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648895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64538354-C6B8-074E-88C5-E997970158A4}"/>
              </a:ext>
            </a:extLst>
          </p:cNvPr>
          <p:cNvSpPr/>
          <p:nvPr/>
        </p:nvSpPr>
        <p:spPr>
          <a:xfrm>
            <a:off x="5094521" y="2792008"/>
            <a:ext cx="5249951" cy="1213056"/>
          </a:xfrm>
          <a:prstGeom prst="rect">
            <a:avLst/>
          </a:prstGeom>
          <a:solidFill>
            <a:srgbClr val="15C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 dirty="0">
              <a:latin typeface="ACHS Nueva Sans" pitchFamily="2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xmlns="" id="{607162C7-CC29-064B-8F3F-58575C7A7114}"/>
              </a:ext>
            </a:extLst>
          </p:cNvPr>
          <p:cNvSpPr txBox="1"/>
          <p:nvPr/>
        </p:nvSpPr>
        <p:spPr>
          <a:xfrm>
            <a:off x="6027344" y="2980166"/>
            <a:ext cx="4317128" cy="952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>
                <a:solidFill>
                  <a:schemeClr val="bg1"/>
                </a:solidFill>
                <a:latin typeface="ACHS Nueva Sans" pitchFamily="2" charset="0"/>
              </a:rPr>
              <a:t>¿Cuántos accidentes han ocurrido en tu empresa?</a:t>
            </a:r>
            <a:endParaRPr lang="es-CL" sz="2000" b="1" dirty="0">
              <a:solidFill>
                <a:schemeClr val="bg1"/>
              </a:solidFill>
              <a:latin typeface="ACHS Nueva Sans" pitchFamily="2" charset="0"/>
            </a:endParaRPr>
          </a:p>
          <a:p>
            <a:endParaRPr lang="es-CL" sz="1592" dirty="0">
              <a:latin typeface="ACHS Nueva Sans" pitchFamily="2" charset="0"/>
            </a:endParaRPr>
          </a:p>
        </p:txBody>
      </p:sp>
      <p:sp>
        <p:nvSpPr>
          <p:cNvPr id="10" name="Título 30">
            <a:extLst>
              <a:ext uri="{FF2B5EF4-FFF2-40B4-BE49-F238E27FC236}">
                <a16:creationId xmlns:a16="http://schemas.microsoft.com/office/drawing/2014/main" xmlns="" id="{7AE4B771-9253-6549-8967-AC4D875BD978}"/>
              </a:ext>
            </a:extLst>
          </p:cNvPr>
          <p:cNvSpPr txBox="1">
            <a:spLocks/>
          </p:cNvSpPr>
          <p:nvPr/>
        </p:nvSpPr>
        <p:spPr>
          <a:xfrm>
            <a:off x="402360" y="585709"/>
            <a:ext cx="4652253" cy="459111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004F59"/>
              </a:solidFill>
            </a:endParaRPr>
          </a:p>
        </p:txBody>
      </p:sp>
      <p:sp>
        <p:nvSpPr>
          <p:cNvPr id="13" name="Título 30">
            <a:extLst>
              <a:ext uri="{FF2B5EF4-FFF2-40B4-BE49-F238E27FC236}">
                <a16:creationId xmlns:a16="http://schemas.microsoft.com/office/drawing/2014/main" xmlns="" id="{BFD79BD3-BAC4-FC44-ADD0-30367F92EB93}"/>
              </a:ext>
            </a:extLst>
          </p:cNvPr>
          <p:cNvSpPr txBox="1">
            <a:spLocks/>
          </p:cNvSpPr>
          <p:nvPr/>
        </p:nvSpPr>
        <p:spPr>
          <a:xfrm>
            <a:off x="312746" y="304423"/>
            <a:ext cx="5278430" cy="1213055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¿Cuánto daño puede hacer un accidente transitando por mi lugar de trabajo?</a:t>
            </a: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xmlns="" id="{C962C29F-1898-E440-AD1A-10ED8DBBCAB1}"/>
              </a:ext>
            </a:extLst>
          </p:cNvPr>
          <p:cNvCxnSpPr>
            <a:cxnSpLocks/>
          </p:cNvCxnSpPr>
          <p:nvPr/>
        </p:nvCxnSpPr>
        <p:spPr>
          <a:xfrm>
            <a:off x="402359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7836BFC2-E867-6C47-8DB1-489F1AC93C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F253DF9-F51D-4C4E-9FDF-389E202A324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1835150"/>
            <a:ext cx="3366160" cy="37551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540088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BF0D547E-E2CC-DE46-8336-00A3BD11A6A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09" r="-2" b="4873"/>
          <a:stretch/>
        </p:blipFill>
        <p:spPr>
          <a:xfrm>
            <a:off x="5578627" y="1134130"/>
            <a:ext cx="6613373" cy="5723869"/>
          </a:xfrm>
          <a:prstGeom prst="rect">
            <a:avLst/>
          </a:prstGeom>
        </p:spPr>
      </p:pic>
      <p:sp>
        <p:nvSpPr>
          <p:cNvPr id="12" name="Título 30">
            <a:extLst>
              <a:ext uri="{FF2B5EF4-FFF2-40B4-BE49-F238E27FC236}">
                <a16:creationId xmlns:a16="http://schemas.microsoft.com/office/drawing/2014/main" xmlns="" id="{39E33D16-523E-7D45-A3E6-7735397D667C}"/>
              </a:ext>
            </a:extLst>
          </p:cNvPr>
          <p:cNvSpPr txBox="1">
            <a:spLocks/>
          </p:cNvSpPr>
          <p:nvPr/>
        </p:nvSpPr>
        <p:spPr>
          <a:xfrm>
            <a:off x="312745" y="295751"/>
            <a:ext cx="4369286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Principales causas de los accidentes en el desplazamiento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388E83AA-A49E-BD47-B85B-76FEE644A6B9}"/>
              </a:ext>
            </a:extLst>
          </p:cNvPr>
          <p:cNvCxnSpPr>
            <a:cxnSpLocks/>
          </p:cNvCxnSpPr>
          <p:nvPr/>
        </p:nvCxnSpPr>
        <p:spPr>
          <a:xfrm>
            <a:off x="407368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Rectangle 3">
            <a:extLst>
              <a:ext uri="{FF2B5EF4-FFF2-40B4-BE49-F238E27FC236}">
                <a16:creationId xmlns:a16="http://schemas.microsoft.com/office/drawing/2014/main" xmlns="" id="{05235D31-8993-0C40-81F9-A5D7AFF17D84}"/>
              </a:ext>
            </a:extLst>
          </p:cNvPr>
          <p:cNvSpPr/>
          <p:nvPr/>
        </p:nvSpPr>
        <p:spPr>
          <a:xfrm>
            <a:off x="312745" y="2420888"/>
            <a:ext cx="24347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Lugares con frecuencia alta de peatones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F1794F70-0A8B-1249-B4CE-74F4F24FEBE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3491383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xmlns="" id="{5BE697E9-74FE-DA41-A6A4-5A00F8968652}"/>
              </a:ext>
            </a:extLst>
          </p:cNvPr>
          <p:cNvSpPr txBox="1"/>
          <p:nvPr/>
        </p:nvSpPr>
        <p:spPr>
          <a:xfrm>
            <a:off x="522082" y="599784"/>
            <a:ext cx="4708662" cy="457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842">
              <a:defRPr/>
            </a:pPr>
            <a:r>
              <a:rPr lang="es-CL" sz="2370" b="1" dirty="0">
                <a:solidFill>
                  <a:prstClr val="white"/>
                </a:solidFill>
                <a:latin typeface="ACHS Nueva Sans" pitchFamily="2" charset="0"/>
                <a:cs typeface="Arial" panose="020B0604020202020204" pitchFamily="34" charset="0"/>
              </a:rPr>
              <a:t>Conceptos fundamentales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xmlns="" id="{26FEA705-2CD0-734F-8F69-8ED343D2E3DC}"/>
              </a:ext>
            </a:extLst>
          </p:cNvPr>
          <p:cNvSpPr/>
          <p:nvPr/>
        </p:nvSpPr>
        <p:spPr>
          <a:xfrm>
            <a:off x="309415" y="2420888"/>
            <a:ext cx="261823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asillos con iluminación deficiente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9DE9C6B0-83A4-5E46-AB6B-AE627C16692B}"/>
              </a:ext>
            </a:extLst>
          </p:cNvPr>
          <p:cNvPicPr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" t="2241" b="20486"/>
          <a:stretch/>
        </p:blipFill>
        <p:spPr>
          <a:xfrm>
            <a:off x="5591175" y="1125538"/>
            <a:ext cx="6625505" cy="5759846"/>
          </a:xfrm>
          <a:prstGeom prst="rect">
            <a:avLst/>
          </a:prstGeom>
        </p:spPr>
      </p:pic>
      <p:sp>
        <p:nvSpPr>
          <p:cNvPr id="8" name="Título 30">
            <a:extLst>
              <a:ext uri="{FF2B5EF4-FFF2-40B4-BE49-F238E27FC236}">
                <a16:creationId xmlns:a16="http://schemas.microsoft.com/office/drawing/2014/main" xmlns="" id="{3AB16362-92C2-A245-A728-42DCB2B0E332}"/>
              </a:ext>
            </a:extLst>
          </p:cNvPr>
          <p:cNvSpPr txBox="1">
            <a:spLocks/>
          </p:cNvSpPr>
          <p:nvPr/>
        </p:nvSpPr>
        <p:spPr>
          <a:xfrm>
            <a:off x="312745" y="295771"/>
            <a:ext cx="4541512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Principales causas de los accidentes en el desplazamiento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A8B82F68-C82A-894E-B4BA-7E51C64078A1}"/>
              </a:ext>
            </a:extLst>
          </p:cNvPr>
          <p:cNvCxnSpPr>
            <a:cxnSpLocks/>
          </p:cNvCxnSpPr>
          <p:nvPr/>
        </p:nvCxnSpPr>
        <p:spPr>
          <a:xfrm>
            <a:off x="406400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3D74CFF5-DE19-3843-B085-C8A905E3E2D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618266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761BC8B3-ECEE-4240-8679-0944E02BAA0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92" b="22238"/>
          <a:stretch/>
        </p:blipFill>
        <p:spPr>
          <a:xfrm>
            <a:off x="5591175" y="1124744"/>
            <a:ext cx="6600826" cy="5791201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xmlns="" id="{26FEA705-2CD0-734F-8F69-8ED343D2E3DC}"/>
              </a:ext>
            </a:extLst>
          </p:cNvPr>
          <p:cNvSpPr/>
          <p:nvPr/>
        </p:nvSpPr>
        <p:spPr>
          <a:xfrm>
            <a:off x="312745" y="2420888"/>
            <a:ext cx="24966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Desplazamiento con objetos caliente.</a:t>
            </a:r>
          </a:p>
        </p:txBody>
      </p:sp>
      <p:sp>
        <p:nvSpPr>
          <p:cNvPr id="8" name="Título 30">
            <a:extLst>
              <a:ext uri="{FF2B5EF4-FFF2-40B4-BE49-F238E27FC236}">
                <a16:creationId xmlns:a16="http://schemas.microsoft.com/office/drawing/2014/main" xmlns="" id="{013FAE36-E98D-AE47-8796-D618FA2064FD}"/>
              </a:ext>
            </a:extLst>
          </p:cNvPr>
          <p:cNvSpPr txBox="1">
            <a:spLocks/>
          </p:cNvSpPr>
          <p:nvPr/>
        </p:nvSpPr>
        <p:spPr>
          <a:xfrm>
            <a:off x="312745" y="301625"/>
            <a:ext cx="4708662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Principales causas de los accidentes en el desplazamiento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0DAE9D34-379F-C04B-B2A4-E015CF6F88BA}"/>
              </a:ext>
            </a:extLst>
          </p:cNvPr>
          <p:cNvCxnSpPr>
            <a:cxnSpLocks/>
          </p:cNvCxnSpPr>
          <p:nvPr/>
        </p:nvCxnSpPr>
        <p:spPr>
          <a:xfrm>
            <a:off x="406400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8E640838-1F55-904D-9822-8852CCC7787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802987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CD167557-2139-A84A-9A2F-7301CAA65FB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1" t="17002" b="5073"/>
          <a:stretch/>
        </p:blipFill>
        <p:spPr>
          <a:xfrm>
            <a:off x="5591174" y="1124744"/>
            <a:ext cx="6600825" cy="5732462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xmlns="" id="{26FEA705-2CD0-734F-8F69-8ED343D2E3DC}"/>
              </a:ext>
            </a:extLst>
          </p:cNvPr>
          <p:cNvSpPr/>
          <p:nvPr/>
        </p:nvSpPr>
        <p:spPr>
          <a:xfrm>
            <a:off x="312745" y="2420888"/>
            <a:ext cx="246790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isos húmedos o mojados.</a:t>
            </a:r>
          </a:p>
        </p:txBody>
      </p:sp>
      <p:sp>
        <p:nvSpPr>
          <p:cNvPr id="8" name="Título 30">
            <a:extLst>
              <a:ext uri="{FF2B5EF4-FFF2-40B4-BE49-F238E27FC236}">
                <a16:creationId xmlns:a16="http://schemas.microsoft.com/office/drawing/2014/main" xmlns="" id="{1B68F1E6-BC69-3D49-8A27-757DF81D15B4}"/>
              </a:ext>
            </a:extLst>
          </p:cNvPr>
          <p:cNvSpPr txBox="1">
            <a:spLocks/>
          </p:cNvSpPr>
          <p:nvPr/>
        </p:nvSpPr>
        <p:spPr>
          <a:xfrm>
            <a:off x="312745" y="301625"/>
            <a:ext cx="4253480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Principales causas de los accidentes en el desplazamiento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11F4D219-B1D2-6C4B-B211-FB99B07B7EDC}"/>
              </a:ext>
            </a:extLst>
          </p:cNvPr>
          <p:cNvCxnSpPr>
            <a:cxnSpLocks/>
          </p:cNvCxnSpPr>
          <p:nvPr/>
        </p:nvCxnSpPr>
        <p:spPr>
          <a:xfrm>
            <a:off x="407368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606CDD42-C7CD-CE48-815F-8D9241D22EF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902049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PORTADAS" val="YEIGYzvt"/>
  <p:tag name="ARTICULATE_SLIDE_THUMBNAIL_REFRESH" val="1"/>
  <p:tag name="ARTICULATE_SLIDE_COUNT" val="20"/>
  <p:tag name="ARTICULATE_DESIGN_ID_21_BASICWHITE" val="fBawxbjV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Portadas">
  <a:themeElements>
    <a:clrScheme name="ACHS 2021">
      <a:dk1>
        <a:sysClr val="windowText" lastClr="000000"/>
      </a:dk1>
      <a:lt1>
        <a:sysClr val="window" lastClr="FFFFFF"/>
      </a:lt1>
      <a:dk2>
        <a:srgbClr val="0C662F"/>
      </a:dk2>
      <a:lt2>
        <a:srgbClr val="84B727"/>
      </a:lt2>
      <a:accent1>
        <a:srgbClr val="8D004C"/>
      </a:accent1>
      <a:accent2>
        <a:srgbClr val="8ECFD0"/>
      </a:accent2>
      <a:accent3>
        <a:srgbClr val="179188"/>
      </a:accent3>
      <a:accent4>
        <a:srgbClr val="F6C700"/>
      </a:accent4>
      <a:accent5>
        <a:srgbClr val="F2E500"/>
      </a:accent5>
      <a:accent6>
        <a:srgbClr val="004B53"/>
      </a:accent6>
      <a:hlink>
        <a:srgbClr val="F2D5C1"/>
      </a:hlink>
      <a:folHlink>
        <a:srgbClr val="FF0066"/>
      </a:folHlink>
    </a:clrScheme>
    <a:fontScheme name="TW ACHS">
      <a:majorFont>
        <a:latin typeface="Tw Cen MT"/>
        <a:ea typeface=""/>
        <a:cs typeface=""/>
      </a:majorFont>
      <a:minorFont>
        <a:latin typeface="Tw Cen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3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4.xml><?xml version="1.0" encoding="utf-8"?>
<a:theme xmlns:a="http://schemas.openxmlformats.org/drawingml/2006/main" name="3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5.xml><?xml version="1.0" encoding="utf-8"?>
<a:theme xmlns:a="http://schemas.openxmlformats.org/drawingml/2006/main" name="4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6.xml><?xml version="1.0" encoding="utf-8"?>
<a:theme xmlns:a="http://schemas.openxmlformats.org/drawingml/2006/main" name="5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7.xml><?xml version="1.0" encoding="utf-8"?>
<a:theme xmlns:a="http://schemas.openxmlformats.org/drawingml/2006/main" name="6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1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F674909-899C-44AA-B9ED-E8AB4AAB852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3990321-741C-4993-8CB7-B75CCB50C9D3}">
  <ds:schemaRefs>
    <ds:schemaRef ds:uri="http://purl.org/dc/terms/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F932236-DB47-43BF-91A4-DC2A27B88F6E}"/>
</file>

<file path=docProps/app.xml><?xml version="1.0" encoding="utf-8"?>
<Properties xmlns="http://schemas.openxmlformats.org/officeDocument/2006/extended-properties" xmlns:vt="http://schemas.openxmlformats.org/officeDocument/2006/docPropsVTypes">
  <TotalTime>7172</TotalTime>
  <Words>388</Words>
  <Application>Microsoft Office PowerPoint</Application>
  <PresentationFormat>Panorámica</PresentationFormat>
  <Paragraphs>105</Paragraphs>
  <Slides>20</Slides>
  <Notes>16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8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40" baseType="lpstr">
      <vt:lpstr>.Lucida Grande UI Regular</vt:lpstr>
      <vt:lpstr>ACHS Nueva Sans</vt:lpstr>
      <vt:lpstr>ACHS Nueva Serif Medium</vt:lpstr>
      <vt:lpstr>Arial</vt:lpstr>
      <vt:lpstr>Calibri</vt:lpstr>
      <vt:lpstr>Calibri Light</vt:lpstr>
      <vt:lpstr>Constantia</vt:lpstr>
      <vt:lpstr>Helvetica Neue</vt:lpstr>
      <vt:lpstr>Helvetica Neue Medium</vt:lpstr>
      <vt:lpstr>Tw Cen MT</vt:lpstr>
      <vt:lpstr>Wingdings</vt:lpstr>
      <vt:lpstr>Portadas</vt:lpstr>
      <vt:lpstr>1_Tema de Office</vt:lpstr>
      <vt:lpstr>2_Tema de Office</vt:lpstr>
      <vt:lpstr>3_Tema de Office</vt:lpstr>
      <vt:lpstr>4_Tema de Office</vt:lpstr>
      <vt:lpstr>5_Tema de Office</vt:lpstr>
      <vt:lpstr>6_Tema de Office</vt:lpstr>
      <vt:lpstr>21_BasicWhite</vt:lpstr>
      <vt:lpstr>Diapositiva de think-cell</vt:lpstr>
      <vt:lpstr>Presentación de PowerPoint</vt:lpstr>
      <vt:lpstr>Antes de comenzar</vt:lpstr>
      <vt:lpstr>Objetiv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nne MV</dc:creator>
  <cp:lastModifiedBy>Saldaño Carreño, Carlos Antonio</cp:lastModifiedBy>
  <cp:revision>233</cp:revision>
  <dcterms:created xsi:type="dcterms:W3CDTF">2018-04-16T12:09:27Z</dcterms:created>
  <dcterms:modified xsi:type="dcterms:W3CDTF">2023-10-24T20:2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E7F286D8-601F-4EF2-8D7C-8F5259703E02</vt:lpwstr>
  </property>
  <property fmtid="{D5CDD505-2E9C-101B-9397-08002B2CF9AE}" pid="3" name="ArticulatePath">
    <vt:lpwstr>ST- Charla DESPLAZAMIENTO SEGUROesplazamiento seguro STREAMIN</vt:lpwstr>
  </property>
  <property fmtid="{D5CDD505-2E9C-101B-9397-08002B2CF9AE}" pid="4" name="ContentTypeId">
    <vt:lpwstr>0x0101007C36543F3D857D488921B9E8F0F0A212</vt:lpwstr>
  </property>
  <property fmtid="{D5CDD505-2E9C-101B-9397-08002B2CF9AE}" pid="5" name="NXPowerLiteLastOptimized">
    <vt:lpwstr>10996560</vt:lpwstr>
  </property>
  <property fmtid="{D5CDD505-2E9C-101B-9397-08002B2CF9AE}" pid="6" name="NXPowerLiteSettings">
    <vt:lpwstr>F7000400038000</vt:lpwstr>
  </property>
  <property fmtid="{D5CDD505-2E9C-101B-9397-08002B2CF9AE}" pid="7" name="NXPowerLiteVersion">
    <vt:lpwstr>S9.1.4</vt:lpwstr>
  </property>
</Properties>
</file>